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1.xml" ContentType="application/vnd.openxmlformats-officedocument.presentationml.tags+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tags/tag33.xml" ContentType="application/vnd.openxmlformats-officedocument.presentationml.tags+xml"/>
  <Override PartName="/ppt/charts/chart7.xml" ContentType="application/vnd.openxmlformats-officedocument.drawingml.chart+xml"/>
  <Override PartName="/ppt/tags/tag34.xml" ContentType="application/vnd.openxmlformats-officedocument.presentationml.tags+xml"/>
  <Override PartName="/ppt/charts/chart8.xml" ContentType="application/vnd.openxmlformats-officedocument.drawingml.chart+xml"/>
  <Override PartName="/ppt/tags/tag35.xml" ContentType="application/vnd.openxmlformats-officedocument.presentationml.tags+xml"/>
  <Override PartName="/ppt/charts/chart9.xml" ContentType="application/vnd.openxmlformats-officedocument.drawingml.chart+xml"/>
  <Override PartName="/ppt/tags/tag36.xml" ContentType="application/vnd.openxmlformats-officedocument.presentationml.tags+xml"/>
  <Override PartName="/ppt/charts/chart10.xml" ContentType="application/vnd.openxmlformats-officedocument.drawingml.chart+xml"/>
  <Override PartName="/ppt/tags/tag37.xml" ContentType="application/vnd.openxmlformats-officedocument.presentationml.tags+xml"/>
  <Override PartName="/ppt/charts/chart11.xml" ContentType="application/vnd.openxmlformats-officedocument.drawingml.chart+xml"/>
  <Override PartName="/ppt/tags/tag38.xml" ContentType="application/vnd.openxmlformats-officedocument.presentationml.tags+xml"/>
  <Override PartName="/ppt/charts/chart12.xml" ContentType="application/vnd.openxmlformats-officedocument.drawingml.chart+xml"/>
  <Override PartName="/ppt/tags/tag39.xml" ContentType="application/vnd.openxmlformats-officedocument.presentationml.tags+xml"/>
  <Override PartName="/ppt/charts/chart13.xml" ContentType="application/vnd.openxmlformats-officedocument.drawingml.chart+xml"/>
  <Override PartName="/ppt/tags/tag40.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1.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2.xml" ContentType="application/vnd.openxmlformats-officedocument.presentationml.tags+xml"/>
  <Override PartName="/ppt/charts/chart22.xml" ContentType="application/vnd.openxmlformats-officedocument.drawingml.chart+xml"/>
  <Override PartName="/ppt/tags/tag43.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44.xml" ContentType="application/vnd.openxmlformats-officedocument.presentationml.tags+xml"/>
  <Override PartName="/ppt/charts/chart27.xml" ContentType="application/vnd.openxmlformats-officedocument.drawingml.chart+xml"/>
  <Override PartName="/ppt/tags/tag45.xml" ContentType="application/vnd.openxmlformats-officedocument.presentationml.tags+xml"/>
  <Override PartName="/ppt/charts/chart28.xml" ContentType="application/vnd.openxmlformats-officedocument.drawingml.chart+xml"/>
  <Override PartName="/ppt/tags/tag46.xml" ContentType="application/vnd.openxmlformats-officedocument.presentationml.tags+xml"/>
  <Override PartName="/ppt/charts/chart29.xml" ContentType="application/vnd.openxmlformats-officedocument.drawingml.chart+xml"/>
  <Override PartName="/ppt/tags/tag47.xml" ContentType="application/vnd.openxmlformats-officedocument.presentationml.tags+xml"/>
  <Override PartName="/ppt/charts/chart30.xml" ContentType="application/vnd.openxmlformats-officedocument.drawingml.chart+xml"/>
  <Override PartName="/ppt/tags/tag4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4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50.xml" ContentType="application/vnd.openxmlformats-officedocument.presentationml.tags+xml"/>
  <Override PartName="/ppt/charts/chart37.xml" ContentType="application/vnd.openxmlformats-officedocument.drawingml.chart+xml"/>
  <Override PartName="/ppt/tags/tag51.xml" ContentType="application/vnd.openxmlformats-officedocument.presentationml.tags+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52.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53.xml" ContentType="application/vnd.openxmlformats-officedocument.presentationml.tags+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4.xml" ContentType="application/vnd.openxmlformats-officedocument.presentationml.tags+xml"/>
  <Override PartName="/ppt/charts/chart47.xml" ContentType="application/vnd.openxmlformats-officedocument.drawingml.chart+xml"/>
  <Override PartName="/ppt/tags/tag55.xml" ContentType="application/vnd.openxmlformats-officedocument.presentationml.tags+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33"/>
  </p:notesMasterIdLst>
  <p:sldIdLst>
    <p:sldId id="2147475186" r:id="rId5"/>
    <p:sldId id="2147475187" r:id="rId6"/>
    <p:sldId id="2147475188" r:id="rId7"/>
    <p:sldId id="2147475189" r:id="rId8"/>
    <p:sldId id="2147475190" r:id="rId9"/>
    <p:sldId id="2147475191" r:id="rId10"/>
    <p:sldId id="2147475192" r:id="rId11"/>
    <p:sldId id="2147475193" r:id="rId12"/>
    <p:sldId id="2147475194" r:id="rId13"/>
    <p:sldId id="2147475195" r:id="rId14"/>
    <p:sldId id="2147475196" r:id="rId15"/>
    <p:sldId id="2147475197" r:id="rId16"/>
    <p:sldId id="2147475198" r:id="rId17"/>
    <p:sldId id="2147475199" r:id="rId18"/>
    <p:sldId id="2147475200" r:id="rId19"/>
    <p:sldId id="2147475201" r:id="rId20"/>
    <p:sldId id="2147475202" r:id="rId21"/>
    <p:sldId id="2147475203" r:id="rId22"/>
    <p:sldId id="2147475204" r:id="rId23"/>
    <p:sldId id="2147475205" r:id="rId24"/>
    <p:sldId id="2147475206" r:id="rId25"/>
    <p:sldId id="2147475207" r:id="rId26"/>
    <p:sldId id="2147475208" r:id="rId27"/>
    <p:sldId id="2147475209" r:id="rId28"/>
    <p:sldId id="2147475210" r:id="rId29"/>
    <p:sldId id="2147475211" r:id="rId30"/>
    <p:sldId id="2147475212" r:id="rId31"/>
    <p:sldId id="2147475213" r:id="rId3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Advanced Protection" id="{2F10329E-1F7A-417F-83B6-F4CF865EBD71}">
          <p14:sldIdLst>
            <p14:sldId id="2147475186"/>
            <p14:sldId id="2147475187"/>
            <p14:sldId id="2147475188"/>
          </p14:sldIdLst>
        </p14:section>
        <p14:section name="Baby" id="{1A4009BC-8091-4884-AFA7-DD08CB2236B6}">
          <p14:sldIdLst>
            <p14:sldId id="2147475189"/>
            <p14:sldId id="2147475190"/>
            <p14:sldId id="2147475191"/>
          </p14:sldIdLst>
        </p14:section>
        <p14:section name="Beautycare" id="{E5BE535B-1C71-42D6-AA9C-D69036621D08}">
          <p14:sldIdLst>
            <p14:sldId id="2147475192"/>
            <p14:sldId id="2147475193"/>
            <p14:sldId id="2147475194"/>
          </p14:sldIdLst>
        </p14:section>
        <p14:section name="Kids" id="{722A1616-373D-4E5A-AD67-950ED661223F}">
          <p14:sldIdLst>
            <p14:sldId id="2147475195"/>
            <p14:sldId id="2147475196"/>
            <p14:sldId id="2147475197"/>
          </p14:sldIdLst>
        </p14:section>
        <p14:section name="Ozono" id="{68F5359C-31C6-4EB5-8609-A29AB7D35757}">
          <p14:sldIdLst>
            <p14:sldId id="2147475198"/>
            <p14:sldId id="2147475199"/>
            <p14:sldId id="2147475200"/>
          </p14:sldIdLst>
        </p14:section>
        <p14:section name="Silk Hydration" id="{E5169E98-517F-4728-A4F6-B1DFD289D252}">
          <p14:sldIdLst>
            <p14:sldId id="2147475201"/>
            <p14:sldId id="2147475202"/>
            <p14:sldId id="2147475203"/>
          </p14:sldIdLst>
        </p14:section>
        <p14:section name="Sport" id="{6E92FC30-6139-4B38-9AF4-E30EF6E4A49B}">
          <p14:sldIdLst>
            <p14:sldId id="2147475204"/>
            <p14:sldId id="2147475205"/>
            <p14:sldId id="2147475206"/>
            <p14:sldId id="2147475207"/>
            <p14:sldId id="2147475208"/>
            <p14:sldId id="2147475209"/>
            <p14:sldId id="2147475210"/>
            <p14:sldId id="2147475211"/>
            <p14:sldId id="2147475212"/>
            <p14:sldId id="214747521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7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006C6D"/>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r>
                      <a:rPr lang="en-US" sz="500">
                        <a:solidFill>
                          <a:srgbClr val="006C6D"/>
                        </a:solidFill>
                      </a:rPr>
                      <a:t>Banana Boat Aqua Protect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Aqua Protect Sport Spray FPS50+ 240ml</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196802536035851E-2</c:v>
                </c:pt>
                <c:pt idx="1">
                  <c:v>5.7384672176622249E-2</c:v>
                </c:pt>
                <c:pt idx="2">
                  <c:v>5.086842923879871E-2</c:v>
                </c:pt>
                <c:pt idx="3">
                  <c:v>4.5204230331287551E-2</c:v>
                </c:pt>
                <c:pt idx="4">
                  <c:v>4.3330586883492492E-2</c:v>
                </c:pt>
                <c:pt idx="5">
                  <c:v>4.3303829202698263E-2</c:v>
                </c:pt>
                <c:pt idx="6">
                  <c:v>3.5417891733295043E-2</c:v>
                </c:pt>
                <c:pt idx="7">
                  <c:v>3.0895498633745532E-2</c:v>
                </c:pt>
                <c:pt idx="8">
                  <c:v>2.7817860414081443E-2</c:v>
                </c:pt>
                <c:pt idx="9">
                  <c:v>2.698642096970106E-2</c:v>
                </c:pt>
                <c:pt idx="10">
                  <c:v>2.2601396978396766E-2</c:v>
                </c:pt>
                <c:pt idx="11">
                  <c:v>2.2489922688570672E-2</c:v>
                </c:pt>
                <c:pt idx="12">
                  <c:v>2.0246337961338737E-2</c:v>
                </c:pt>
                <c:pt idx="13">
                  <c:v>1.9291100206824414E-2</c:v>
                </c:pt>
                <c:pt idx="14">
                  <c:v>1.7229070245822053E-2</c:v>
                </c:pt>
                <c:pt idx="15">
                  <c:v>1.7220210791726701E-2</c:v>
                </c:pt>
                <c:pt idx="16">
                  <c:v>1.7065659943231323E-2</c:v>
                </c:pt>
                <c:pt idx="17">
                  <c:v>1.5268579929434962E-2</c:v>
                </c:pt>
                <c:pt idx="18">
                  <c:v>1.4758452631656609E-2</c:v>
                </c:pt>
                <c:pt idx="19">
                  <c:v>1.4630415922116776E-2</c:v>
                </c:pt>
                <c:pt idx="20">
                  <c:v>1.4024500451278815E-2</c:v>
                </c:pt>
                <c:pt idx="21">
                  <c:v>1.3450821111658401E-2</c:v>
                </c:pt>
                <c:pt idx="22">
                  <c:v>1.2405429966027323E-2</c:v>
                </c:pt>
                <c:pt idx="23">
                  <c:v>1.2020563308082611E-2</c:v>
                </c:pt>
                <c:pt idx="24">
                  <c:v>1.1984635222990685E-2</c:v>
                </c:pt>
                <c:pt idx="25">
                  <c:v>1.1940577242093726E-2</c:v>
                </c:pt>
                <c:pt idx="26">
                  <c:v>1.1747904910178507E-2</c:v>
                </c:pt>
                <c:pt idx="27">
                  <c:v>1.0828424657115254E-2</c:v>
                </c:pt>
                <c:pt idx="28">
                  <c:v>1.053577755968456E-2</c:v>
                </c:pt>
                <c:pt idx="29">
                  <c:v>1.0344855149068943E-2</c:v>
                </c:pt>
                <c:pt idx="30">
                  <c:v>9.8755667011730976E-3</c:v>
                </c:pt>
                <c:pt idx="31">
                  <c:v>9.8597609610264793E-3</c:v>
                </c:pt>
                <c:pt idx="32">
                  <c:v>9.7046486194961416E-3</c:v>
                </c:pt>
                <c:pt idx="33">
                  <c:v>9.5766876737705571E-3</c:v>
                </c:pt>
                <c:pt idx="34">
                  <c:v>9.2756484708398628E-3</c:v>
                </c:pt>
                <c:pt idx="35">
                  <c:v>9.2294739781405132E-3</c:v>
                </c:pt>
                <c:pt idx="36">
                  <c:v>9.2192010959269433E-3</c:v>
                </c:pt>
                <c:pt idx="37">
                  <c:v>9.2136088142022524E-3</c:v>
                </c:pt>
                <c:pt idx="38">
                  <c:v>7.5309112356745159E-3</c:v>
                </c:pt>
                <c:pt idx="39">
                  <c:v>7.2217959233220998E-3</c:v>
                </c:pt>
                <c:pt idx="40">
                  <c:v>7.0151228265985998E-3</c:v>
                </c:pt>
                <c:pt idx="41">
                  <c:v>6.9305658983406055E-3</c:v>
                </c:pt>
                <c:pt idx="42">
                  <c:v>6.8225452316320332E-3</c:v>
                </c:pt>
                <c:pt idx="43">
                  <c:v>6.6379842039925811E-3</c:v>
                </c:pt>
                <c:pt idx="44">
                  <c:v>6.5521202429368857E-3</c:v>
                </c:pt>
                <c:pt idx="45">
                  <c:v>6.4492392608999855E-3</c:v>
                </c:pt>
                <c:pt idx="46">
                  <c:v>6.2102456317788112E-3</c:v>
                </c:pt>
                <c:pt idx="47">
                  <c:v>6.0886887747281879E-3</c:v>
                </c:pt>
                <c:pt idx="48">
                  <c:v>6.0434541365721947E-3</c:v>
                </c:pt>
                <c:pt idx="49">
                  <c:v>5.5412081449822594E-3</c:v>
                </c:pt>
                <c:pt idx="50">
                  <c:v>5.2424898468376229E-3</c:v>
                </c:pt>
                <c:pt idx="51">
                  <c:v>5.1913238769654632E-3</c:v>
                </c:pt>
                <c:pt idx="52">
                  <c:v>4.9952932096061515E-3</c:v>
                </c:pt>
                <c:pt idx="53">
                  <c:v>4.7755077394173616E-3</c:v>
                </c:pt>
                <c:pt idx="54">
                  <c:v>4.760971373249474E-3</c:v>
                </c:pt>
                <c:pt idx="55">
                  <c:v>4.7006014631438813E-3</c:v>
                </c:pt>
                <c:pt idx="56">
                  <c:v>4.5771059849729519E-3</c:v>
                </c:pt>
                <c:pt idx="57">
                  <c:v>4.5365707398712729E-3</c:v>
                </c:pt>
                <c:pt idx="58">
                  <c:v>4.1013926393756251E-3</c:v>
                </c:pt>
                <c:pt idx="59">
                  <c:v>4.0919370857026207E-3</c:v>
                </c:pt>
                <c:pt idx="60">
                  <c:v>3.9408611206632818E-3</c:v>
                </c:pt>
                <c:pt idx="61">
                  <c:v>3.7725623847808974E-3</c:v>
                </c:pt>
                <c:pt idx="62">
                  <c:v>3.6291457123819033E-3</c:v>
                </c:pt>
                <c:pt idx="63">
                  <c:v>3.4416344318070158E-3</c:v>
                </c:pt>
                <c:pt idx="64">
                  <c:v>3.0601680660789663E-3</c:v>
                </c:pt>
                <c:pt idx="65">
                  <c:v>3.0255144156077721E-3</c:v>
                </c:pt>
                <c:pt idx="66">
                  <c:v>2.782197067086151E-3</c:v>
                </c:pt>
                <c:pt idx="67">
                  <c:v>2.6819361073437582E-3</c:v>
                </c:pt>
                <c:pt idx="68">
                  <c:v>1.859204474072016E-3</c:v>
                </c:pt>
                <c:pt idx="69">
                  <c:v>1.6506827829952243E-3</c:v>
                </c:pt>
                <c:pt idx="70">
                  <c:v>1.6251790603494984E-3</c:v>
                </c:pt>
                <c:pt idx="71">
                  <c:v>1.4882326714780105E-3</c:v>
                </c:pt>
                <c:pt idx="72">
                  <c:v>1.4857420795246971E-3</c:v>
                </c:pt>
                <c:pt idx="73">
                  <c:v>1.2898986215958343E-3</c:v>
                </c:pt>
                <c:pt idx="74">
                  <c:v>1.2194073739001134E-3</c:v>
                </c:pt>
                <c:pt idx="75">
                  <c:v>1.1464526759151911E-3</c:v>
                </c:pt>
                <c:pt idx="76">
                  <c:v>1.1151762950450319E-3</c:v>
                </c:pt>
                <c:pt idx="77">
                  <c:v>1.0807385951723807E-3</c:v>
                </c:pt>
                <c:pt idx="78">
                  <c:v>9.1699484012301919E-4</c:v>
                </c:pt>
                <c:pt idx="79">
                  <c:v>7.1436133391503001E-4</c:v>
                </c:pt>
                <c:pt idx="80">
                  <c:v>6.1137910793080167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lang="en-US"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Baby Lotion FPS50+ 177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085508411757E-2</c:v>
                </c:pt>
                <c:pt idx="1">
                  <c:v>5.7639969067943331E-2</c:v>
                </c:pt>
                <c:pt idx="2">
                  <c:v>5.1000615378498156E-2</c:v>
                </c:pt>
                <c:pt idx="3">
                  <c:v>4.5273326131780874E-2</c:v>
                </c:pt>
                <c:pt idx="4">
                  <c:v>4.3494692772345606E-2</c:v>
                </c:pt>
                <c:pt idx="5">
                  <c:v>4.3474715605351356E-2</c:v>
                </c:pt>
                <c:pt idx="6">
                  <c:v>3.5578174495767993E-2</c:v>
                </c:pt>
                <c:pt idx="7">
                  <c:v>3.1059094893957202E-2</c:v>
                </c:pt>
                <c:pt idx="8">
                  <c:v>2.7905250970895003E-2</c:v>
                </c:pt>
                <c:pt idx="9">
                  <c:v>2.7153428110153546E-2</c:v>
                </c:pt>
                <c:pt idx="10">
                  <c:v>2.267849212444642E-2</c:v>
                </c:pt>
                <c:pt idx="11">
                  <c:v>2.2613414559176408E-2</c:v>
                </c:pt>
                <c:pt idx="12">
                  <c:v>2.0316114545521614E-2</c:v>
                </c:pt>
                <c:pt idx="13">
                  <c:v>1.9373847542933736E-2</c:v>
                </c:pt>
                <c:pt idx="14">
                  <c:v>1.7286940176302758E-2</c:v>
                </c:pt>
                <c:pt idx="15">
                  <c:v>1.7271736120733888E-2</c:v>
                </c:pt>
                <c:pt idx="16">
                  <c:v>1.7116743234729854E-2</c:v>
                </c:pt>
                <c:pt idx="17">
                  <c:v>1.529835851736492E-2</c:v>
                </c:pt>
                <c:pt idx="18">
                  <c:v>1.4801521425163269E-2</c:v>
                </c:pt>
                <c:pt idx="19">
                  <c:v>1.4650360922698861E-2</c:v>
                </c:pt>
                <c:pt idx="20">
                  <c:v>1.4066913487108954E-2</c:v>
                </c:pt>
                <c:pt idx="21">
                  <c:v>1.3493209208865172E-2</c:v>
                </c:pt>
                <c:pt idx="22">
                  <c:v>1.2439889521435639E-2</c:v>
                </c:pt>
                <c:pt idx="23">
                  <c:v>1.2185881715365585E-2</c:v>
                </c:pt>
                <c:pt idx="24">
                  <c:v>1.20086565676055E-2</c:v>
                </c:pt>
                <c:pt idx="25">
                  <c:v>1.197785645337366E-2</c:v>
                </c:pt>
                <c:pt idx="26">
                  <c:v>1.1767431579766674E-2</c:v>
                </c:pt>
                <c:pt idx="27">
                  <c:v>1.0842487591841796E-2</c:v>
                </c:pt>
                <c:pt idx="28">
                  <c:v>1.0552572782383229E-2</c:v>
                </c:pt>
                <c:pt idx="29">
                  <c:v>1.0355578213006558E-2</c:v>
                </c:pt>
                <c:pt idx="30">
                  <c:v>9.8888772145514173E-3</c:v>
                </c:pt>
                <c:pt idx="31">
                  <c:v>9.8884770369772629E-3</c:v>
                </c:pt>
                <c:pt idx="32">
                  <c:v>9.7175694764535924E-3</c:v>
                </c:pt>
                <c:pt idx="33">
                  <c:v>9.6113651291865158E-3</c:v>
                </c:pt>
                <c:pt idx="34">
                  <c:v>9.2906510619868501E-3</c:v>
                </c:pt>
                <c:pt idx="35">
                  <c:v>9.2558670736528088E-3</c:v>
                </c:pt>
                <c:pt idx="36">
                  <c:v>9.249862896442855E-3</c:v>
                </c:pt>
                <c:pt idx="37">
                  <c:v>9.2388514565466973E-3</c:v>
                </c:pt>
                <c:pt idx="38">
                  <c:v>7.5606504333246205E-3</c:v>
                </c:pt>
                <c:pt idx="39">
                  <c:v>7.2335934544978673E-3</c:v>
                </c:pt>
                <c:pt idx="40">
                  <c:v>7.0297594628033764E-3</c:v>
                </c:pt>
                <c:pt idx="41">
                  <c:v>6.9387381523340523E-3</c:v>
                </c:pt>
                <c:pt idx="42">
                  <c:v>6.8338375734844185E-3</c:v>
                </c:pt>
                <c:pt idx="43">
                  <c:v>6.6484901727433413E-3</c:v>
                </c:pt>
                <c:pt idx="44">
                  <c:v>6.5712075329445382E-3</c:v>
                </c:pt>
                <c:pt idx="45">
                  <c:v>6.5006767404010464E-3</c:v>
                </c:pt>
                <c:pt idx="46">
                  <c:v>6.1233730804125235E-3</c:v>
                </c:pt>
                <c:pt idx="47">
                  <c:v>6.0582840563313881E-3</c:v>
                </c:pt>
                <c:pt idx="48">
                  <c:v>5.5606246701893763E-3</c:v>
                </c:pt>
                <c:pt idx="49">
                  <c:v>5.2723569803142262E-3</c:v>
                </c:pt>
                <c:pt idx="50">
                  <c:v>5.2251064863858294E-3</c:v>
                </c:pt>
                <c:pt idx="51">
                  <c:v>5.0341355221294824E-3</c:v>
                </c:pt>
                <c:pt idx="52">
                  <c:v>4.8260283382483143E-3</c:v>
                </c:pt>
                <c:pt idx="53">
                  <c:v>4.7982084022553263E-3</c:v>
                </c:pt>
                <c:pt idx="54">
                  <c:v>4.7131123189171073E-3</c:v>
                </c:pt>
                <c:pt idx="55">
                  <c:v>4.6034705732240985E-3</c:v>
                </c:pt>
                <c:pt idx="56">
                  <c:v>4.5390921291719091E-3</c:v>
                </c:pt>
                <c:pt idx="57">
                  <c:v>4.1496263956248489E-3</c:v>
                </c:pt>
                <c:pt idx="58">
                  <c:v>4.1026771836553729E-3</c:v>
                </c:pt>
                <c:pt idx="59">
                  <c:v>3.9497550759359113E-3</c:v>
                </c:pt>
                <c:pt idx="60">
                  <c:v>3.7831682259621409E-3</c:v>
                </c:pt>
                <c:pt idx="61">
                  <c:v>3.6449937861817321E-3</c:v>
                </c:pt>
                <c:pt idx="62">
                  <c:v>3.4535675118202154E-3</c:v>
                </c:pt>
                <c:pt idx="63">
                  <c:v>3.0838852668787346E-3</c:v>
                </c:pt>
                <c:pt idx="64">
                  <c:v>3.0472938690694015E-3</c:v>
                </c:pt>
                <c:pt idx="65">
                  <c:v>2.7887299606089394E-3</c:v>
                </c:pt>
                <c:pt idx="66">
                  <c:v>2.6906951686712318E-3</c:v>
                </c:pt>
                <c:pt idx="67">
                  <c:v>2.6519066663750522E-3</c:v>
                </c:pt>
                <c:pt idx="68">
                  <c:v>1.869818685526901E-3</c:v>
                </c:pt>
                <c:pt idx="69">
                  <c:v>1.6551979711727858E-3</c:v>
                </c:pt>
                <c:pt idx="70">
                  <c:v>1.6346886202683304E-3</c:v>
                </c:pt>
                <c:pt idx="71">
                  <c:v>1.5039918137161987E-3</c:v>
                </c:pt>
                <c:pt idx="72">
                  <c:v>1.4973258660141917E-3</c:v>
                </c:pt>
                <c:pt idx="73">
                  <c:v>1.2948713158232681E-3</c:v>
                </c:pt>
                <c:pt idx="74">
                  <c:v>1.2308330493843503E-3</c:v>
                </c:pt>
                <c:pt idx="75">
                  <c:v>1.1542982328136822E-3</c:v>
                </c:pt>
                <c:pt idx="76">
                  <c:v>1.1232326621813254E-3</c:v>
                </c:pt>
                <c:pt idx="77">
                  <c:v>1.0848396897445033E-3</c:v>
                </c:pt>
                <c:pt idx="78">
                  <c:v>9.2000363016150888E-4</c:v>
                </c:pt>
                <c:pt idx="79">
                  <c:v>7.1609062345188588E-4</c:v>
                </c:pt>
                <c:pt idx="80">
                  <c:v>6.181125024116784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lang="en-US"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Baby Lotion FPS50+ 177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085508411757E-2</c:v>
                </c:pt>
                <c:pt idx="1">
                  <c:v>5.7639969067943331E-2</c:v>
                </c:pt>
                <c:pt idx="2">
                  <c:v>5.1000615378498156E-2</c:v>
                </c:pt>
                <c:pt idx="3">
                  <c:v>4.5273326131780874E-2</c:v>
                </c:pt>
                <c:pt idx="4">
                  <c:v>4.3494692772345606E-2</c:v>
                </c:pt>
                <c:pt idx="5">
                  <c:v>4.3474715605351356E-2</c:v>
                </c:pt>
                <c:pt idx="6">
                  <c:v>3.5578174495767993E-2</c:v>
                </c:pt>
                <c:pt idx="7">
                  <c:v>3.1059094893957202E-2</c:v>
                </c:pt>
                <c:pt idx="8">
                  <c:v>2.7905250970895003E-2</c:v>
                </c:pt>
                <c:pt idx="9">
                  <c:v>2.7153428110153546E-2</c:v>
                </c:pt>
                <c:pt idx="10">
                  <c:v>2.267849212444642E-2</c:v>
                </c:pt>
                <c:pt idx="11">
                  <c:v>2.2613414559176408E-2</c:v>
                </c:pt>
                <c:pt idx="12">
                  <c:v>2.0316114545521614E-2</c:v>
                </c:pt>
                <c:pt idx="13">
                  <c:v>1.9373847542933736E-2</c:v>
                </c:pt>
                <c:pt idx="14">
                  <c:v>1.7286940176302758E-2</c:v>
                </c:pt>
                <c:pt idx="15">
                  <c:v>1.7271736120733888E-2</c:v>
                </c:pt>
                <c:pt idx="16">
                  <c:v>1.7116743234729854E-2</c:v>
                </c:pt>
                <c:pt idx="17">
                  <c:v>1.529835851736492E-2</c:v>
                </c:pt>
                <c:pt idx="18">
                  <c:v>1.4801521425163269E-2</c:v>
                </c:pt>
                <c:pt idx="19">
                  <c:v>1.4650360922698861E-2</c:v>
                </c:pt>
                <c:pt idx="20">
                  <c:v>1.4066913487108954E-2</c:v>
                </c:pt>
                <c:pt idx="21">
                  <c:v>1.3493209208865172E-2</c:v>
                </c:pt>
                <c:pt idx="22">
                  <c:v>1.2439889521435639E-2</c:v>
                </c:pt>
                <c:pt idx="23">
                  <c:v>1.2185881715365585E-2</c:v>
                </c:pt>
                <c:pt idx="24">
                  <c:v>1.20086565676055E-2</c:v>
                </c:pt>
                <c:pt idx="25">
                  <c:v>1.197785645337366E-2</c:v>
                </c:pt>
                <c:pt idx="26">
                  <c:v>1.1767431579766674E-2</c:v>
                </c:pt>
                <c:pt idx="27">
                  <c:v>1.0842487591841796E-2</c:v>
                </c:pt>
                <c:pt idx="28">
                  <c:v>1.0552572782383229E-2</c:v>
                </c:pt>
                <c:pt idx="29">
                  <c:v>1.0355578213006558E-2</c:v>
                </c:pt>
                <c:pt idx="30">
                  <c:v>9.8888772145514173E-3</c:v>
                </c:pt>
                <c:pt idx="31">
                  <c:v>9.8884770369772629E-3</c:v>
                </c:pt>
                <c:pt idx="32">
                  <c:v>9.7175694764535924E-3</c:v>
                </c:pt>
                <c:pt idx="33">
                  <c:v>9.6113651291865158E-3</c:v>
                </c:pt>
                <c:pt idx="34">
                  <c:v>9.2906510619868501E-3</c:v>
                </c:pt>
                <c:pt idx="35">
                  <c:v>9.2558670736528088E-3</c:v>
                </c:pt>
                <c:pt idx="36">
                  <c:v>9.249862896442855E-3</c:v>
                </c:pt>
                <c:pt idx="37">
                  <c:v>9.2388514565466973E-3</c:v>
                </c:pt>
                <c:pt idx="38">
                  <c:v>7.5606504333246205E-3</c:v>
                </c:pt>
                <c:pt idx="39">
                  <c:v>7.2335934544978673E-3</c:v>
                </c:pt>
                <c:pt idx="40">
                  <c:v>7.0297594628033764E-3</c:v>
                </c:pt>
                <c:pt idx="41">
                  <c:v>6.9387381523340523E-3</c:v>
                </c:pt>
                <c:pt idx="42">
                  <c:v>6.8338375734844185E-3</c:v>
                </c:pt>
                <c:pt idx="43">
                  <c:v>6.6484901727433413E-3</c:v>
                </c:pt>
                <c:pt idx="44">
                  <c:v>6.5712075329445382E-3</c:v>
                </c:pt>
                <c:pt idx="45">
                  <c:v>6.5006767404010464E-3</c:v>
                </c:pt>
                <c:pt idx="46">
                  <c:v>6.1233730804125235E-3</c:v>
                </c:pt>
                <c:pt idx="47">
                  <c:v>6.0582840563313881E-3</c:v>
                </c:pt>
                <c:pt idx="48">
                  <c:v>5.5606246701893763E-3</c:v>
                </c:pt>
                <c:pt idx="49">
                  <c:v>5.2723569803142262E-3</c:v>
                </c:pt>
                <c:pt idx="50">
                  <c:v>5.2251064863858294E-3</c:v>
                </c:pt>
                <c:pt idx="51">
                  <c:v>5.0341355221294824E-3</c:v>
                </c:pt>
                <c:pt idx="52">
                  <c:v>4.8260283382483143E-3</c:v>
                </c:pt>
                <c:pt idx="53">
                  <c:v>4.7982084022553263E-3</c:v>
                </c:pt>
                <c:pt idx="54">
                  <c:v>4.7131123189171073E-3</c:v>
                </c:pt>
                <c:pt idx="55">
                  <c:v>4.6034705732240985E-3</c:v>
                </c:pt>
                <c:pt idx="56">
                  <c:v>4.5390921291719091E-3</c:v>
                </c:pt>
                <c:pt idx="57">
                  <c:v>4.1496263956248489E-3</c:v>
                </c:pt>
                <c:pt idx="58">
                  <c:v>4.1026771836553729E-3</c:v>
                </c:pt>
                <c:pt idx="59">
                  <c:v>3.9497550759359113E-3</c:v>
                </c:pt>
                <c:pt idx="60">
                  <c:v>3.7831682259621409E-3</c:v>
                </c:pt>
                <c:pt idx="61">
                  <c:v>3.6449937861817321E-3</c:v>
                </c:pt>
                <c:pt idx="62">
                  <c:v>3.4535675118202154E-3</c:v>
                </c:pt>
                <c:pt idx="63">
                  <c:v>3.0838852668787346E-3</c:v>
                </c:pt>
                <c:pt idx="64">
                  <c:v>3.0472938690694015E-3</c:v>
                </c:pt>
                <c:pt idx="65">
                  <c:v>2.7887299606089394E-3</c:v>
                </c:pt>
                <c:pt idx="66">
                  <c:v>2.6906951686712318E-3</c:v>
                </c:pt>
                <c:pt idx="67">
                  <c:v>2.6519066663750522E-3</c:v>
                </c:pt>
                <c:pt idx="68">
                  <c:v>1.869818685526901E-3</c:v>
                </c:pt>
                <c:pt idx="69">
                  <c:v>1.6551979711727858E-3</c:v>
                </c:pt>
                <c:pt idx="70">
                  <c:v>1.6346886202683304E-3</c:v>
                </c:pt>
                <c:pt idx="71">
                  <c:v>1.5039918137161987E-3</c:v>
                </c:pt>
                <c:pt idx="72">
                  <c:v>1.4973258660141917E-3</c:v>
                </c:pt>
                <c:pt idx="73">
                  <c:v>1.2948713158232681E-3</c:v>
                </c:pt>
                <c:pt idx="74">
                  <c:v>1.2308330493843503E-3</c:v>
                </c:pt>
                <c:pt idx="75">
                  <c:v>1.1542982328136822E-3</c:v>
                </c:pt>
                <c:pt idx="76">
                  <c:v>1.1232326621813254E-3</c:v>
                </c:pt>
                <c:pt idx="77">
                  <c:v>1.0848396897445033E-3</c:v>
                </c:pt>
                <c:pt idx="78">
                  <c:v>9.2000363016150888E-4</c:v>
                </c:pt>
                <c:pt idx="79">
                  <c:v>7.1609062345188588E-4</c:v>
                </c:pt>
                <c:pt idx="80">
                  <c:v>6.181125024116784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0.4577509582582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4924707899547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6.657595872964385E-2</c:v>
                </c:pt>
                <c:pt idx="1">
                  <c:v>6.4358183782374984E-2</c:v>
                </c:pt>
                <c:pt idx="2">
                  <c:v>5.4865394861463739E-2</c:v>
                </c:pt>
                <c:pt idx="3">
                  <c:v>4.2734017476789177E-2</c:v>
                </c:pt>
                <c:pt idx="4">
                  <c:v>3.5256167065805047E-2</c:v>
                </c:pt>
                <c:pt idx="5">
                  <c:v>3.48358610878809E-2</c:v>
                </c:pt>
                <c:pt idx="6">
                  <c:v>3.2361620237228828E-2</c:v>
                </c:pt>
                <c:pt idx="7">
                  <c:v>3.1485206857781389E-2</c:v>
                </c:pt>
                <c:pt idx="8">
                  <c:v>2.814518433318839E-2</c:v>
                </c:pt>
                <c:pt idx="9">
                  <c:v>2.6551432339693086E-2</c:v>
                </c:pt>
                <c:pt idx="10">
                  <c:v>2.592950455345541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006C6D"/>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lang="en-US"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Glow Stick FPS50 20g</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7720838469254E-2</c:v>
                </c:pt>
                <c:pt idx="1">
                  <c:v>5.7722248615717994E-2</c:v>
                </c:pt>
                <c:pt idx="2">
                  <c:v>5.1040641503840009E-2</c:v>
                </c:pt>
                <c:pt idx="3">
                  <c:v>4.5317492973395941E-2</c:v>
                </c:pt>
                <c:pt idx="4">
                  <c:v>4.3537173339973034E-2</c:v>
                </c:pt>
                <c:pt idx="5">
                  <c:v>4.3503768517221715E-2</c:v>
                </c:pt>
                <c:pt idx="6">
                  <c:v>3.5621200605687325E-2</c:v>
                </c:pt>
                <c:pt idx="7">
                  <c:v>3.1167240088152894E-2</c:v>
                </c:pt>
                <c:pt idx="8">
                  <c:v>2.7957458005984148E-2</c:v>
                </c:pt>
                <c:pt idx="9">
                  <c:v>2.7210122288597025E-2</c:v>
                </c:pt>
                <c:pt idx="10">
                  <c:v>2.2688928809820614E-2</c:v>
                </c:pt>
                <c:pt idx="11">
                  <c:v>2.2630227122231353E-2</c:v>
                </c:pt>
                <c:pt idx="12">
                  <c:v>2.0343944746245065E-2</c:v>
                </c:pt>
                <c:pt idx="13">
                  <c:v>1.942204722691044E-2</c:v>
                </c:pt>
                <c:pt idx="14">
                  <c:v>1.7306355724314076E-2</c:v>
                </c:pt>
                <c:pt idx="15">
                  <c:v>1.7286594182965298E-2</c:v>
                </c:pt>
                <c:pt idx="16">
                  <c:v>1.7136797809085769E-2</c:v>
                </c:pt>
                <c:pt idx="17">
                  <c:v>1.529475671222473E-2</c:v>
                </c:pt>
                <c:pt idx="18">
                  <c:v>1.4817867984851463E-2</c:v>
                </c:pt>
                <c:pt idx="19">
                  <c:v>1.4634506003251981E-2</c:v>
                </c:pt>
                <c:pt idx="20">
                  <c:v>1.4076297047913383E-2</c:v>
                </c:pt>
                <c:pt idx="21">
                  <c:v>1.3508464726890785E-2</c:v>
                </c:pt>
                <c:pt idx="22">
                  <c:v>1.245832240581279E-2</c:v>
                </c:pt>
                <c:pt idx="23">
                  <c:v>1.2202624555518913E-2</c:v>
                </c:pt>
                <c:pt idx="24">
                  <c:v>1.2014479649420887E-2</c:v>
                </c:pt>
                <c:pt idx="25">
                  <c:v>1.1984732041639632E-2</c:v>
                </c:pt>
                <c:pt idx="26">
                  <c:v>1.1767794166016114E-2</c:v>
                </c:pt>
                <c:pt idx="27">
                  <c:v>1.0831904289996726E-2</c:v>
                </c:pt>
                <c:pt idx="28">
                  <c:v>1.0540014882484053E-2</c:v>
                </c:pt>
                <c:pt idx="29">
                  <c:v>1.0362211448925723E-2</c:v>
                </c:pt>
                <c:pt idx="30">
                  <c:v>9.8893126889818394E-3</c:v>
                </c:pt>
                <c:pt idx="31">
                  <c:v>9.8828510933091935E-3</c:v>
                </c:pt>
                <c:pt idx="32">
                  <c:v>9.7265993158374229E-3</c:v>
                </c:pt>
                <c:pt idx="33">
                  <c:v>9.6069796942065758E-3</c:v>
                </c:pt>
                <c:pt idx="34">
                  <c:v>9.2864425918512926E-3</c:v>
                </c:pt>
                <c:pt idx="35">
                  <c:v>9.26047676066254E-3</c:v>
                </c:pt>
                <c:pt idx="36">
                  <c:v>9.2594439250262717E-3</c:v>
                </c:pt>
                <c:pt idx="37">
                  <c:v>9.2403642651793134E-3</c:v>
                </c:pt>
                <c:pt idx="38">
                  <c:v>7.5571161012326742E-3</c:v>
                </c:pt>
                <c:pt idx="39">
                  <c:v>7.2255745381884159E-3</c:v>
                </c:pt>
                <c:pt idx="40">
                  <c:v>7.0277151062414882E-3</c:v>
                </c:pt>
                <c:pt idx="41">
                  <c:v>6.9428146970175342E-3</c:v>
                </c:pt>
                <c:pt idx="42">
                  <c:v>6.8450493045978259E-3</c:v>
                </c:pt>
                <c:pt idx="43">
                  <c:v>6.645479751196416E-3</c:v>
                </c:pt>
                <c:pt idx="44">
                  <c:v>6.5772288977505042E-3</c:v>
                </c:pt>
                <c:pt idx="45">
                  <c:v>6.5123233744375734E-3</c:v>
                </c:pt>
                <c:pt idx="46">
                  <c:v>6.1415730213078869E-3</c:v>
                </c:pt>
                <c:pt idx="47">
                  <c:v>6.0505403741790602E-3</c:v>
                </c:pt>
                <c:pt idx="48">
                  <c:v>5.5632649878121429E-3</c:v>
                </c:pt>
                <c:pt idx="49">
                  <c:v>5.2740652142101545E-3</c:v>
                </c:pt>
                <c:pt idx="50">
                  <c:v>5.2217767627743515E-3</c:v>
                </c:pt>
                <c:pt idx="51">
                  <c:v>5.0368795061306697E-3</c:v>
                </c:pt>
                <c:pt idx="52">
                  <c:v>4.8340840518613674E-3</c:v>
                </c:pt>
                <c:pt idx="53">
                  <c:v>4.8118046411312811E-3</c:v>
                </c:pt>
                <c:pt idx="54">
                  <c:v>4.7144834855187183E-3</c:v>
                </c:pt>
                <c:pt idx="55">
                  <c:v>4.5856999129928553E-3</c:v>
                </c:pt>
                <c:pt idx="56">
                  <c:v>4.5409325665227776E-3</c:v>
                </c:pt>
                <c:pt idx="57">
                  <c:v>4.1657480256516643E-3</c:v>
                </c:pt>
                <c:pt idx="58">
                  <c:v>4.1101719541272053E-3</c:v>
                </c:pt>
                <c:pt idx="59">
                  <c:v>3.9511567415674792E-3</c:v>
                </c:pt>
                <c:pt idx="60">
                  <c:v>3.7905338102417387E-3</c:v>
                </c:pt>
                <c:pt idx="61">
                  <c:v>3.6510582855175276E-3</c:v>
                </c:pt>
                <c:pt idx="62">
                  <c:v>3.4540603449409015E-3</c:v>
                </c:pt>
                <c:pt idx="63">
                  <c:v>3.090240578689658E-3</c:v>
                </c:pt>
                <c:pt idx="64">
                  <c:v>3.0545605825607288E-3</c:v>
                </c:pt>
                <c:pt idx="65">
                  <c:v>2.79017606208449E-3</c:v>
                </c:pt>
                <c:pt idx="66">
                  <c:v>2.6848125460827493E-3</c:v>
                </c:pt>
                <c:pt idx="67">
                  <c:v>1.8631167930163207E-3</c:v>
                </c:pt>
                <c:pt idx="68">
                  <c:v>1.7865800875041312E-3</c:v>
                </c:pt>
                <c:pt idx="69">
                  <c:v>1.6483094070555981E-3</c:v>
                </c:pt>
                <c:pt idx="70">
                  <c:v>1.6351143403608558E-3</c:v>
                </c:pt>
                <c:pt idx="71">
                  <c:v>1.5040255440291969E-3</c:v>
                </c:pt>
                <c:pt idx="72">
                  <c:v>1.488480438473432E-3</c:v>
                </c:pt>
                <c:pt idx="73">
                  <c:v>1.2929960667779907E-3</c:v>
                </c:pt>
                <c:pt idx="74">
                  <c:v>1.232210439562923E-3</c:v>
                </c:pt>
                <c:pt idx="75">
                  <c:v>1.1546253080318423E-3</c:v>
                </c:pt>
                <c:pt idx="76">
                  <c:v>1.1202189029113623E-3</c:v>
                </c:pt>
                <c:pt idx="77">
                  <c:v>1.083581698695554E-3</c:v>
                </c:pt>
                <c:pt idx="78">
                  <c:v>9.1965122206732921E-4</c:v>
                </c:pt>
                <c:pt idx="79">
                  <c:v>7.1579484537498265E-4</c:v>
                </c:pt>
                <c:pt idx="80">
                  <c:v>6.17961030956871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7ECAC4"/>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7ECAC4"/>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lang="en-US"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Neutrogena Mineral Ultra Sheer Stick FPS50 42g</c:v>
                </c:pt>
                <c:pt idx="69">
                  <c:v>Banana Boat Advanced Protection Face Fluid FPS50+ 50ml</c:v>
                </c:pt>
                <c:pt idx="70">
                  <c:v>Banana Boat Advanced Protection Sport Roll-on FPS50+ 75ml</c:v>
                </c:pt>
                <c:pt idx="71">
                  <c:v>Beautycare Antioxidant Face Lotion FPS50+ 50ml</c:v>
                </c:pt>
                <c:pt idx="72">
                  <c:v>Vaseline Sunscreen Stick FPS50+ 15g</c:v>
                </c:pt>
                <c:pt idx="73">
                  <c:v>Banana Boat Kids Sport Roll-on FPS50+ 75ml</c:v>
                </c:pt>
                <c:pt idx="74">
                  <c:v>Hawaiian Tropic Mineral Brush FPS30 4.25g</c:v>
                </c:pt>
                <c:pt idx="75">
                  <c:v>Vaseline Tone-up Cream FPS50+ 50ml</c:v>
                </c:pt>
                <c:pt idx="76">
                  <c:v>Vaseline Daily Use FPS50+ 50ml</c:v>
                </c:pt>
                <c:pt idx="77">
                  <c:v>Beautycare Glow Serum FPS50 3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77280953400678E-2</c:v>
                </c:pt>
                <c:pt idx="1">
                  <c:v>5.7750922991732255E-2</c:v>
                </c:pt>
                <c:pt idx="2">
                  <c:v>5.1048184970829517E-2</c:v>
                </c:pt>
                <c:pt idx="3">
                  <c:v>4.5330386283289788E-2</c:v>
                </c:pt>
                <c:pt idx="4">
                  <c:v>4.357126735301551E-2</c:v>
                </c:pt>
                <c:pt idx="5">
                  <c:v>4.3521534928725632E-2</c:v>
                </c:pt>
                <c:pt idx="6">
                  <c:v>3.563672216384102E-2</c:v>
                </c:pt>
                <c:pt idx="7">
                  <c:v>3.1187708053411929E-2</c:v>
                </c:pt>
                <c:pt idx="8">
                  <c:v>2.7965905125356301E-2</c:v>
                </c:pt>
                <c:pt idx="9">
                  <c:v>2.7227868997096935E-2</c:v>
                </c:pt>
                <c:pt idx="10">
                  <c:v>2.2708925648279425E-2</c:v>
                </c:pt>
                <c:pt idx="11">
                  <c:v>2.2652237734616949E-2</c:v>
                </c:pt>
                <c:pt idx="12">
                  <c:v>2.0362425033916741E-2</c:v>
                </c:pt>
                <c:pt idx="13">
                  <c:v>1.9434593852225124E-2</c:v>
                </c:pt>
                <c:pt idx="14">
                  <c:v>1.7309623974287494E-2</c:v>
                </c:pt>
                <c:pt idx="15">
                  <c:v>1.7298725854840376E-2</c:v>
                </c:pt>
                <c:pt idx="16">
                  <c:v>1.7136017653726677E-2</c:v>
                </c:pt>
                <c:pt idx="17">
                  <c:v>1.5304390969490057E-2</c:v>
                </c:pt>
                <c:pt idx="18">
                  <c:v>1.4839844748560293E-2</c:v>
                </c:pt>
                <c:pt idx="19">
                  <c:v>1.4656438495701586E-2</c:v>
                </c:pt>
                <c:pt idx="20">
                  <c:v>1.4082015297102405E-2</c:v>
                </c:pt>
                <c:pt idx="21">
                  <c:v>1.3521880795126957E-2</c:v>
                </c:pt>
                <c:pt idx="22">
                  <c:v>1.246917355201865E-2</c:v>
                </c:pt>
                <c:pt idx="23">
                  <c:v>1.2222237784141207E-2</c:v>
                </c:pt>
                <c:pt idx="24">
                  <c:v>1.2016356444688103E-2</c:v>
                </c:pt>
                <c:pt idx="25">
                  <c:v>1.1992168141999578E-2</c:v>
                </c:pt>
                <c:pt idx="26">
                  <c:v>1.1775209634276505E-2</c:v>
                </c:pt>
                <c:pt idx="27">
                  <c:v>1.0856783460949112E-2</c:v>
                </c:pt>
                <c:pt idx="28">
                  <c:v>1.0560880604101697E-2</c:v>
                </c:pt>
                <c:pt idx="29">
                  <c:v>1.0370404113284657E-2</c:v>
                </c:pt>
                <c:pt idx="30">
                  <c:v>9.9046714319594477E-3</c:v>
                </c:pt>
                <c:pt idx="31">
                  <c:v>9.8895565123915639E-3</c:v>
                </c:pt>
                <c:pt idx="32">
                  <c:v>9.7337330885631668E-3</c:v>
                </c:pt>
                <c:pt idx="33">
                  <c:v>9.6158262483298038E-3</c:v>
                </c:pt>
                <c:pt idx="34">
                  <c:v>9.2909282141431706E-3</c:v>
                </c:pt>
                <c:pt idx="35">
                  <c:v>9.2720225711740156E-3</c:v>
                </c:pt>
                <c:pt idx="36">
                  <c:v>9.2645522559774342E-3</c:v>
                </c:pt>
                <c:pt idx="37">
                  <c:v>9.2559440337512209E-3</c:v>
                </c:pt>
                <c:pt idx="38">
                  <c:v>7.5665944355986486E-3</c:v>
                </c:pt>
                <c:pt idx="39">
                  <c:v>7.2362716381883232E-3</c:v>
                </c:pt>
                <c:pt idx="40">
                  <c:v>7.0315802248962266E-3</c:v>
                </c:pt>
                <c:pt idx="41">
                  <c:v>6.9523202991781533E-3</c:v>
                </c:pt>
                <c:pt idx="42">
                  <c:v>6.8462922984275556E-3</c:v>
                </c:pt>
                <c:pt idx="43">
                  <c:v>6.6532558733695965E-3</c:v>
                </c:pt>
                <c:pt idx="44">
                  <c:v>6.5849061591645459E-3</c:v>
                </c:pt>
                <c:pt idx="45">
                  <c:v>6.5194512600607966E-3</c:v>
                </c:pt>
                <c:pt idx="46">
                  <c:v>6.1459391141393859E-3</c:v>
                </c:pt>
                <c:pt idx="47">
                  <c:v>6.060073607638875E-3</c:v>
                </c:pt>
                <c:pt idx="48">
                  <c:v>5.5719679070018657E-3</c:v>
                </c:pt>
                <c:pt idx="49">
                  <c:v>5.2787116077312613E-3</c:v>
                </c:pt>
                <c:pt idx="50">
                  <c:v>5.238950181476144E-3</c:v>
                </c:pt>
                <c:pt idx="51">
                  <c:v>5.0462405594437479E-3</c:v>
                </c:pt>
                <c:pt idx="52">
                  <c:v>4.8459471158025349E-3</c:v>
                </c:pt>
                <c:pt idx="53">
                  <c:v>4.8183464426845967E-3</c:v>
                </c:pt>
                <c:pt idx="54">
                  <c:v>4.7200557003717085E-3</c:v>
                </c:pt>
                <c:pt idx="55">
                  <c:v>4.6029154185285963E-3</c:v>
                </c:pt>
                <c:pt idx="56">
                  <c:v>4.5436748897801282E-3</c:v>
                </c:pt>
                <c:pt idx="57">
                  <c:v>4.1708456179114775E-3</c:v>
                </c:pt>
                <c:pt idx="58">
                  <c:v>4.1143318736573528E-3</c:v>
                </c:pt>
                <c:pt idx="59">
                  <c:v>3.9557079862406752E-3</c:v>
                </c:pt>
                <c:pt idx="60">
                  <c:v>3.791172708677573E-3</c:v>
                </c:pt>
                <c:pt idx="61">
                  <c:v>3.6541995738441774E-3</c:v>
                </c:pt>
                <c:pt idx="62">
                  <c:v>3.4615747102425495E-3</c:v>
                </c:pt>
                <c:pt idx="63">
                  <c:v>3.0954825505912983E-3</c:v>
                </c:pt>
                <c:pt idx="64">
                  <c:v>3.0605274391434286E-3</c:v>
                </c:pt>
                <c:pt idx="65">
                  <c:v>2.791049912401197E-3</c:v>
                </c:pt>
                <c:pt idx="66">
                  <c:v>2.6895442312210062E-3</c:v>
                </c:pt>
                <c:pt idx="67">
                  <c:v>1.8713692085513569E-3</c:v>
                </c:pt>
                <c:pt idx="68">
                  <c:v>1.6543063753187367E-3</c:v>
                </c:pt>
                <c:pt idx="69">
                  <c:v>1.6407605937150069E-3</c:v>
                </c:pt>
                <c:pt idx="70">
                  <c:v>1.5100055341609085E-3</c:v>
                </c:pt>
                <c:pt idx="71">
                  <c:v>1.4967456268917237E-3</c:v>
                </c:pt>
                <c:pt idx="72">
                  <c:v>1.2951208662752513E-3</c:v>
                </c:pt>
                <c:pt idx="73">
                  <c:v>1.2343669819561284E-3</c:v>
                </c:pt>
                <c:pt idx="74">
                  <c:v>1.1572528655326424E-3</c:v>
                </c:pt>
                <c:pt idx="75">
                  <c:v>1.1246342779003102E-3</c:v>
                </c:pt>
                <c:pt idx="76">
                  <c:v>1.0849884856173584E-3</c:v>
                </c:pt>
                <c:pt idx="77">
                  <c:v>1.0082753009693288E-3</c:v>
                </c:pt>
                <c:pt idx="78">
                  <c:v>9.2065004631187747E-4</c:v>
                </c:pt>
                <c:pt idx="79">
                  <c:v>7.1736780908596143E-4</c:v>
                </c:pt>
                <c:pt idx="80">
                  <c:v>6.208747199772942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7ECAC4"/>
              </a:solidFill>
            </c:spPr>
            <c:extLst>
              <c:ext xmlns:c16="http://schemas.microsoft.com/office/drawing/2014/chart" uri="{C3380CC4-5D6E-409C-BE32-E72D297353CC}">
                <c16:uniqueId val="{00000087-B2E8-4080-83D6-EECA18439E6A}"/>
              </c:ext>
            </c:extLst>
          </c:dPt>
          <c:dPt>
            <c:idx val="68"/>
            <c:invertIfNegative val="1"/>
            <c:bubble3D val="0"/>
            <c:spPr>
              <a:solidFill>
                <a:srgbClr val="006C6D"/>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r>
                      <a:rPr lang="en-US"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Pro Age Color Face Fluid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116586337942E-2</c:v>
                </c:pt>
                <c:pt idx="1">
                  <c:v>5.7727009809229554E-2</c:v>
                </c:pt>
                <c:pt idx="2">
                  <c:v>5.1033229667225163E-2</c:v>
                </c:pt>
                <c:pt idx="3">
                  <c:v>4.5298994266683268E-2</c:v>
                </c:pt>
                <c:pt idx="4">
                  <c:v>4.3539845978341117E-2</c:v>
                </c:pt>
                <c:pt idx="5">
                  <c:v>4.3503334339193664E-2</c:v>
                </c:pt>
                <c:pt idx="6">
                  <c:v>3.562369311322839E-2</c:v>
                </c:pt>
                <c:pt idx="7">
                  <c:v>3.1174131128512989E-2</c:v>
                </c:pt>
                <c:pt idx="8">
                  <c:v>2.7958092011429406E-2</c:v>
                </c:pt>
                <c:pt idx="9">
                  <c:v>2.721719822032883E-2</c:v>
                </c:pt>
                <c:pt idx="10">
                  <c:v>2.2691604514689094E-2</c:v>
                </c:pt>
                <c:pt idx="11">
                  <c:v>2.2640358146830651E-2</c:v>
                </c:pt>
                <c:pt idx="12">
                  <c:v>2.0341978264644494E-2</c:v>
                </c:pt>
                <c:pt idx="13">
                  <c:v>1.9427710922205261E-2</c:v>
                </c:pt>
                <c:pt idx="14">
                  <c:v>1.7305253145110864E-2</c:v>
                </c:pt>
                <c:pt idx="15">
                  <c:v>1.7286023296873398E-2</c:v>
                </c:pt>
                <c:pt idx="16">
                  <c:v>1.7131845400897558E-2</c:v>
                </c:pt>
                <c:pt idx="17">
                  <c:v>1.528717494779972E-2</c:v>
                </c:pt>
                <c:pt idx="18">
                  <c:v>1.4817577628772239E-2</c:v>
                </c:pt>
                <c:pt idx="19">
                  <c:v>1.4636072421214166E-2</c:v>
                </c:pt>
                <c:pt idx="20">
                  <c:v>1.406738908200484E-2</c:v>
                </c:pt>
                <c:pt idx="21">
                  <c:v>1.3507021857534326E-2</c:v>
                </c:pt>
                <c:pt idx="22">
                  <c:v>1.2461700156210901E-2</c:v>
                </c:pt>
                <c:pt idx="23">
                  <c:v>1.2212222979255243E-2</c:v>
                </c:pt>
                <c:pt idx="24">
                  <c:v>1.2012942369161374E-2</c:v>
                </c:pt>
                <c:pt idx="25">
                  <c:v>1.1985340872291875E-2</c:v>
                </c:pt>
                <c:pt idx="26">
                  <c:v>1.1768079073363228E-2</c:v>
                </c:pt>
                <c:pt idx="27">
                  <c:v>1.0836051440423438E-2</c:v>
                </c:pt>
                <c:pt idx="28">
                  <c:v>1.0543960936807463E-2</c:v>
                </c:pt>
                <c:pt idx="29">
                  <c:v>1.0363034879322034E-2</c:v>
                </c:pt>
                <c:pt idx="30">
                  <c:v>9.8998653671740558E-3</c:v>
                </c:pt>
                <c:pt idx="31">
                  <c:v>9.864999044565342E-3</c:v>
                </c:pt>
                <c:pt idx="32">
                  <c:v>9.7225367793286541E-3</c:v>
                </c:pt>
                <c:pt idx="33">
                  <c:v>9.6102456031991346E-3</c:v>
                </c:pt>
                <c:pt idx="34">
                  <c:v>9.2777536078499281E-3</c:v>
                </c:pt>
                <c:pt idx="35">
                  <c:v>9.2552794413237726E-3</c:v>
                </c:pt>
                <c:pt idx="36">
                  <c:v>9.2537720042908216E-3</c:v>
                </c:pt>
                <c:pt idx="37">
                  <c:v>9.2352470874547034E-3</c:v>
                </c:pt>
                <c:pt idx="38">
                  <c:v>7.5514829751739451E-3</c:v>
                </c:pt>
                <c:pt idx="39">
                  <c:v>7.2229459769509582E-3</c:v>
                </c:pt>
                <c:pt idx="40">
                  <c:v>7.0120363132150617E-3</c:v>
                </c:pt>
                <c:pt idx="41">
                  <c:v>6.9429083315322316E-3</c:v>
                </c:pt>
                <c:pt idx="42">
                  <c:v>6.8441356362010375E-3</c:v>
                </c:pt>
                <c:pt idx="43">
                  <c:v>6.6461019631652365E-3</c:v>
                </c:pt>
                <c:pt idx="44">
                  <c:v>6.5740494131881081E-3</c:v>
                </c:pt>
                <c:pt idx="45">
                  <c:v>6.514025997116835E-3</c:v>
                </c:pt>
                <c:pt idx="46">
                  <c:v>6.1399886251435254E-3</c:v>
                </c:pt>
                <c:pt idx="47">
                  <c:v>6.046257235125212E-3</c:v>
                </c:pt>
                <c:pt idx="48">
                  <c:v>5.5619290598686319E-3</c:v>
                </c:pt>
                <c:pt idx="49">
                  <c:v>5.2729271885327087E-3</c:v>
                </c:pt>
                <c:pt idx="50">
                  <c:v>5.2225599465436099E-3</c:v>
                </c:pt>
                <c:pt idx="51">
                  <c:v>5.0381932067734281E-3</c:v>
                </c:pt>
                <c:pt idx="52">
                  <c:v>4.8412034938976976E-3</c:v>
                </c:pt>
                <c:pt idx="53">
                  <c:v>4.8133946380506032E-3</c:v>
                </c:pt>
                <c:pt idx="54">
                  <c:v>4.7132541160969637E-3</c:v>
                </c:pt>
                <c:pt idx="55">
                  <c:v>4.6009115274215457E-3</c:v>
                </c:pt>
                <c:pt idx="56">
                  <c:v>4.5382558913524048E-3</c:v>
                </c:pt>
                <c:pt idx="57">
                  <c:v>4.1662091711238093E-3</c:v>
                </c:pt>
                <c:pt idx="58">
                  <c:v>4.10809890659713E-3</c:v>
                </c:pt>
                <c:pt idx="59">
                  <c:v>3.9479956816420043E-3</c:v>
                </c:pt>
                <c:pt idx="60">
                  <c:v>3.7864404082746097E-3</c:v>
                </c:pt>
                <c:pt idx="61">
                  <c:v>3.64994275963162E-3</c:v>
                </c:pt>
                <c:pt idx="62">
                  <c:v>3.4584984668234674E-3</c:v>
                </c:pt>
                <c:pt idx="63">
                  <c:v>3.0910096478273443E-3</c:v>
                </c:pt>
                <c:pt idx="64">
                  <c:v>3.0573002873687046E-3</c:v>
                </c:pt>
                <c:pt idx="65">
                  <c:v>2.7895105206835031E-3</c:v>
                </c:pt>
                <c:pt idx="66">
                  <c:v>2.6846332831845254E-3</c:v>
                </c:pt>
                <c:pt idx="67">
                  <c:v>1.8661119795108259E-3</c:v>
                </c:pt>
                <c:pt idx="68">
                  <c:v>1.8168748342503862E-3</c:v>
                </c:pt>
                <c:pt idx="69">
                  <c:v>1.652367260858361E-3</c:v>
                </c:pt>
                <c:pt idx="70">
                  <c:v>1.6349626848318549E-3</c:v>
                </c:pt>
                <c:pt idx="71">
                  <c:v>1.5076557454510161E-3</c:v>
                </c:pt>
                <c:pt idx="72">
                  <c:v>1.4854052847174232E-3</c:v>
                </c:pt>
                <c:pt idx="73">
                  <c:v>1.292075900621999E-3</c:v>
                </c:pt>
                <c:pt idx="74">
                  <c:v>1.2309347209910283E-3</c:v>
                </c:pt>
                <c:pt idx="75">
                  <c:v>1.155553454898514E-3</c:v>
                </c:pt>
                <c:pt idx="76">
                  <c:v>1.1226724344538088E-3</c:v>
                </c:pt>
                <c:pt idx="77">
                  <c:v>1.082968795137088E-3</c:v>
                </c:pt>
                <c:pt idx="78">
                  <c:v>9.2110194257352175E-4</c:v>
                </c:pt>
                <c:pt idx="79">
                  <c:v>7.156792803173198E-4</c:v>
                </c:pt>
                <c:pt idx="80">
                  <c:v>6.1969934473004511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7ECAC4"/>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006C6D"/>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r>
                      <a:rPr lang="en-US"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eautycare Glow Lip Oil FPS5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5363330782884E-2</c:v>
                </c:pt>
                <c:pt idx="1">
                  <c:v>5.7663352032594602E-2</c:v>
                </c:pt>
                <c:pt idx="2">
                  <c:v>5.100430735339255E-2</c:v>
                </c:pt>
                <c:pt idx="3">
                  <c:v>4.5244427178931665E-2</c:v>
                </c:pt>
                <c:pt idx="4">
                  <c:v>4.3501885721937132E-2</c:v>
                </c:pt>
                <c:pt idx="5">
                  <c:v>4.3476876429684994E-2</c:v>
                </c:pt>
                <c:pt idx="6">
                  <c:v>3.5586986484869958E-2</c:v>
                </c:pt>
                <c:pt idx="7">
                  <c:v>3.1145622055832978E-2</c:v>
                </c:pt>
                <c:pt idx="8">
                  <c:v>2.7945082488151429E-2</c:v>
                </c:pt>
                <c:pt idx="9">
                  <c:v>2.7192715317405393E-2</c:v>
                </c:pt>
                <c:pt idx="10">
                  <c:v>2.2663886467339446E-2</c:v>
                </c:pt>
                <c:pt idx="11">
                  <c:v>2.2604789329574135E-2</c:v>
                </c:pt>
                <c:pt idx="12">
                  <c:v>2.0304248410633108E-2</c:v>
                </c:pt>
                <c:pt idx="13">
                  <c:v>1.9410380477848672E-2</c:v>
                </c:pt>
                <c:pt idx="14">
                  <c:v>1.7286745111879054E-2</c:v>
                </c:pt>
                <c:pt idx="15">
                  <c:v>1.7246761206306652E-2</c:v>
                </c:pt>
                <c:pt idx="16">
                  <c:v>1.7106427601497297E-2</c:v>
                </c:pt>
                <c:pt idx="17">
                  <c:v>1.5264032808869055E-2</c:v>
                </c:pt>
                <c:pt idx="18">
                  <c:v>1.4793966406515978E-2</c:v>
                </c:pt>
                <c:pt idx="19">
                  <c:v>1.4620560027625927E-2</c:v>
                </c:pt>
                <c:pt idx="20">
                  <c:v>1.4058945045949199E-2</c:v>
                </c:pt>
                <c:pt idx="21">
                  <c:v>1.3479982977963672E-2</c:v>
                </c:pt>
                <c:pt idx="22">
                  <c:v>1.2432714629695902E-2</c:v>
                </c:pt>
                <c:pt idx="23">
                  <c:v>1.2194142376778712E-2</c:v>
                </c:pt>
                <c:pt idx="24">
                  <c:v>1.1996797459990095E-2</c:v>
                </c:pt>
                <c:pt idx="25">
                  <c:v>1.1980051767330586E-2</c:v>
                </c:pt>
                <c:pt idx="26">
                  <c:v>1.174717905662644E-2</c:v>
                </c:pt>
                <c:pt idx="27">
                  <c:v>1.0815544310509989E-2</c:v>
                </c:pt>
                <c:pt idx="28">
                  <c:v>1.0518114933601519E-2</c:v>
                </c:pt>
                <c:pt idx="29">
                  <c:v>1.0338663898469823E-2</c:v>
                </c:pt>
                <c:pt idx="30">
                  <c:v>9.8754535506714158E-3</c:v>
                </c:pt>
                <c:pt idx="31">
                  <c:v>9.8613851497115976E-3</c:v>
                </c:pt>
                <c:pt idx="32">
                  <c:v>9.7107846280639031E-3</c:v>
                </c:pt>
                <c:pt idx="33">
                  <c:v>9.5984375113375119E-3</c:v>
                </c:pt>
                <c:pt idx="34">
                  <c:v>9.2635009997645464E-3</c:v>
                </c:pt>
                <c:pt idx="35">
                  <c:v>9.2421709185695079E-3</c:v>
                </c:pt>
                <c:pt idx="36">
                  <c:v>9.241758438943027E-3</c:v>
                </c:pt>
                <c:pt idx="37">
                  <c:v>9.2331230824961395E-3</c:v>
                </c:pt>
                <c:pt idx="38">
                  <c:v>7.5372376652848242E-3</c:v>
                </c:pt>
                <c:pt idx="39">
                  <c:v>7.2008462027806641E-3</c:v>
                </c:pt>
                <c:pt idx="40">
                  <c:v>7.0067565630807125E-3</c:v>
                </c:pt>
                <c:pt idx="41">
                  <c:v>6.9281788120882405E-3</c:v>
                </c:pt>
                <c:pt idx="42">
                  <c:v>6.8380039197245522E-3</c:v>
                </c:pt>
                <c:pt idx="43">
                  <c:v>6.6385242304431028E-3</c:v>
                </c:pt>
                <c:pt idx="44">
                  <c:v>6.5586196581957608E-3</c:v>
                </c:pt>
                <c:pt idx="45">
                  <c:v>6.5019497107507412E-3</c:v>
                </c:pt>
                <c:pt idx="46">
                  <c:v>6.1302037575084239E-3</c:v>
                </c:pt>
                <c:pt idx="47">
                  <c:v>6.0436865902149649E-3</c:v>
                </c:pt>
                <c:pt idx="48">
                  <c:v>5.546865072915721E-3</c:v>
                </c:pt>
                <c:pt idx="49">
                  <c:v>5.2660150102755614E-3</c:v>
                </c:pt>
                <c:pt idx="50">
                  <c:v>5.2198578960517654E-3</c:v>
                </c:pt>
                <c:pt idx="51">
                  <c:v>5.0279370627387089E-3</c:v>
                </c:pt>
                <c:pt idx="52">
                  <c:v>4.8299454633874053E-3</c:v>
                </c:pt>
                <c:pt idx="53">
                  <c:v>4.8040544314569139E-3</c:v>
                </c:pt>
                <c:pt idx="54">
                  <c:v>4.70637819539684E-3</c:v>
                </c:pt>
                <c:pt idx="55">
                  <c:v>4.581676025599335E-3</c:v>
                </c:pt>
                <c:pt idx="56">
                  <c:v>4.5280570247461568E-3</c:v>
                </c:pt>
                <c:pt idx="57">
                  <c:v>4.1590085170050625E-3</c:v>
                </c:pt>
                <c:pt idx="58">
                  <c:v>4.0981605228296199E-3</c:v>
                </c:pt>
                <c:pt idx="59">
                  <c:v>3.9385843665243597E-3</c:v>
                </c:pt>
                <c:pt idx="60">
                  <c:v>3.7802171237880651E-3</c:v>
                </c:pt>
                <c:pt idx="61">
                  <c:v>3.6439012260804011E-3</c:v>
                </c:pt>
                <c:pt idx="62">
                  <c:v>3.4456504339253542E-3</c:v>
                </c:pt>
                <c:pt idx="63">
                  <c:v>3.0843979620152847E-3</c:v>
                </c:pt>
                <c:pt idx="64">
                  <c:v>3.0818098712687048E-3</c:v>
                </c:pt>
                <c:pt idx="65">
                  <c:v>3.0506102977676435E-3</c:v>
                </c:pt>
                <c:pt idx="66">
                  <c:v>2.7786697426925807E-3</c:v>
                </c:pt>
                <c:pt idx="67">
                  <c:v>2.6824828126553678E-3</c:v>
                </c:pt>
                <c:pt idx="68">
                  <c:v>1.8634259624505827E-3</c:v>
                </c:pt>
                <c:pt idx="69">
                  <c:v>1.6473505071384095E-3</c:v>
                </c:pt>
                <c:pt idx="70">
                  <c:v>1.6337335887432545E-3</c:v>
                </c:pt>
                <c:pt idx="71">
                  <c:v>1.4964265329615782E-3</c:v>
                </c:pt>
                <c:pt idx="72">
                  <c:v>1.4845445129406797E-3</c:v>
                </c:pt>
                <c:pt idx="73">
                  <c:v>1.2877617639683375E-3</c:v>
                </c:pt>
                <c:pt idx="74">
                  <c:v>1.2281968971605529E-3</c:v>
                </c:pt>
                <c:pt idx="75">
                  <c:v>1.1518228308905983E-3</c:v>
                </c:pt>
                <c:pt idx="76">
                  <c:v>1.1221703086607298E-3</c:v>
                </c:pt>
                <c:pt idx="77">
                  <c:v>1.0797803405679905E-3</c:v>
                </c:pt>
                <c:pt idx="78">
                  <c:v>9.1722636643628869E-4</c:v>
                </c:pt>
                <c:pt idx="79">
                  <c:v>7.1478341686742207E-4</c:v>
                </c:pt>
                <c:pt idx="80">
                  <c:v>6.1732382387483351E-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006C6D"/>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lang="en-US"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Glow Stick FPS50 20g</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7720838469254E-2</c:v>
                </c:pt>
                <c:pt idx="1">
                  <c:v>5.7722248615717994E-2</c:v>
                </c:pt>
                <c:pt idx="2">
                  <c:v>5.1040641503840009E-2</c:v>
                </c:pt>
                <c:pt idx="3">
                  <c:v>4.5317492973395941E-2</c:v>
                </c:pt>
                <c:pt idx="4">
                  <c:v>4.3537173339973034E-2</c:v>
                </c:pt>
                <c:pt idx="5">
                  <c:v>4.3503768517221715E-2</c:v>
                </c:pt>
                <c:pt idx="6">
                  <c:v>3.5621200605687325E-2</c:v>
                </c:pt>
                <c:pt idx="7">
                  <c:v>3.1167240088152894E-2</c:v>
                </c:pt>
                <c:pt idx="8">
                  <c:v>2.7957458005984148E-2</c:v>
                </c:pt>
                <c:pt idx="9">
                  <c:v>2.7210122288597025E-2</c:v>
                </c:pt>
                <c:pt idx="10">
                  <c:v>2.2688928809820614E-2</c:v>
                </c:pt>
                <c:pt idx="11">
                  <c:v>2.2630227122231353E-2</c:v>
                </c:pt>
                <c:pt idx="12">
                  <c:v>2.0343944746245065E-2</c:v>
                </c:pt>
                <c:pt idx="13">
                  <c:v>1.942204722691044E-2</c:v>
                </c:pt>
                <c:pt idx="14">
                  <c:v>1.7306355724314076E-2</c:v>
                </c:pt>
                <c:pt idx="15">
                  <c:v>1.7286594182965298E-2</c:v>
                </c:pt>
                <c:pt idx="16">
                  <c:v>1.7136797809085769E-2</c:v>
                </c:pt>
                <c:pt idx="17">
                  <c:v>1.529475671222473E-2</c:v>
                </c:pt>
                <c:pt idx="18">
                  <c:v>1.4817867984851463E-2</c:v>
                </c:pt>
                <c:pt idx="19">
                  <c:v>1.4634506003251981E-2</c:v>
                </c:pt>
                <c:pt idx="20">
                  <c:v>1.4076297047913383E-2</c:v>
                </c:pt>
                <c:pt idx="21">
                  <c:v>1.3508464726890785E-2</c:v>
                </c:pt>
                <c:pt idx="22">
                  <c:v>1.245832240581279E-2</c:v>
                </c:pt>
                <c:pt idx="23">
                  <c:v>1.2202624555518913E-2</c:v>
                </c:pt>
                <c:pt idx="24">
                  <c:v>1.2014479649420887E-2</c:v>
                </c:pt>
                <c:pt idx="25">
                  <c:v>1.1984732041639632E-2</c:v>
                </c:pt>
                <c:pt idx="26">
                  <c:v>1.1767794166016114E-2</c:v>
                </c:pt>
                <c:pt idx="27">
                  <c:v>1.0831904289996726E-2</c:v>
                </c:pt>
                <c:pt idx="28">
                  <c:v>1.0540014882484053E-2</c:v>
                </c:pt>
                <c:pt idx="29">
                  <c:v>1.0362211448925723E-2</c:v>
                </c:pt>
                <c:pt idx="30">
                  <c:v>9.8893126889818394E-3</c:v>
                </c:pt>
                <c:pt idx="31">
                  <c:v>9.8828510933091935E-3</c:v>
                </c:pt>
                <c:pt idx="32">
                  <c:v>9.7265993158374229E-3</c:v>
                </c:pt>
                <c:pt idx="33">
                  <c:v>9.6069796942065758E-3</c:v>
                </c:pt>
                <c:pt idx="34">
                  <c:v>9.2864425918512926E-3</c:v>
                </c:pt>
                <c:pt idx="35">
                  <c:v>9.26047676066254E-3</c:v>
                </c:pt>
                <c:pt idx="36">
                  <c:v>9.2594439250262717E-3</c:v>
                </c:pt>
                <c:pt idx="37">
                  <c:v>9.2403642651793134E-3</c:v>
                </c:pt>
                <c:pt idx="38">
                  <c:v>7.5571161012326742E-3</c:v>
                </c:pt>
                <c:pt idx="39">
                  <c:v>7.2255745381884159E-3</c:v>
                </c:pt>
                <c:pt idx="40">
                  <c:v>7.0277151062414882E-3</c:v>
                </c:pt>
                <c:pt idx="41">
                  <c:v>6.9428146970175342E-3</c:v>
                </c:pt>
                <c:pt idx="42">
                  <c:v>6.8450493045978259E-3</c:v>
                </c:pt>
                <c:pt idx="43">
                  <c:v>6.645479751196416E-3</c:v>
                </c:pt>
                <c:pt idx="44">
                  <c:v>6.5772288977505042E-3</c:v>
                </c:pt>
                <c:pt idx="45">
                  <c:v>6.5123233744375734E-3</c:v>
                </c:pt>
                <c:pt idx="46">
                  <c:v>6.1415730213078869E-3</c:v>
                </c:pt>
                <c:pt idx="47">
                  <c:v>6.0505403741790602E-3</c:v>
                </c:pt>
                <c:pt idx="48">
                  <c:v>5.5632649878121429E-3</c:v>
                </c:pt>
                <c:pt idx="49">
                  <c:v>5.2740652142101545E-3</c:v>
                </c:pt>
                <c:pt idx="50">
                  <c:v>5.2217767627743515E-3</c:v>
                </c:pt>
                <c:pt idx="51">
                  <c:v>5.0368795061306697E-3</c:v>
                </c:pt>
                <c:pt idx="52">
                  <c:v>4.8340840518613674E-3</c:v>
                </c:pt>
                <c:pt idx="53">
                  <c:v>4.8118046411312811E-3</c:v>
                </c:pt>
                <c:pt idx="54">
                  <c:v>4.7144834855187183E-3</c:v>
                </c:pt>
                <c:pt idx="55">
                  <c:v>4.5856999129928553E-3</c:v>
                </c:pt>
                <c:pt idx="56">
                  <c:v>4.5409325665227776E-3</c:v>
                </c:pt>
                <c:pt idx="57">
                  <c:v>4.1657480256516643E-3</c:v>
                </c:pt>
                <c:pt idx="58">
                  <c:v>4.1101719541272053E-3</c:v>
                </c:pt>
                <c:pt idx="59">
                  <c:v>3.9511567415674792E-3</c:v>
                </c:pt>
                <c:pt idx="60">
                  <c:v>3.7905338102417387E-3</c:v>
                </c:pt>
                <c:pt idx="61">
                  <c:v>3.6510582855175276E-3</c:v>
                </c:pt>
                <c:pt idx="62">
                  <c:v>3.4540603449409015E-3</c:v>
                </c:pt>
                <c:pt idx="63">
                  <c:v>3.090240578689658E-3</c:v>
                </c:pt>
                <c:pt idx="64">
                  <c:v>3.0545605825607288E-3</c:v>
                </c:pt>
                <c:pt idx="65">
                  <c:v>2.79017606208449E-3</c:v>
                </c:pt>
                <c:pt idx="66">
                  <c:v>2.6848125460827493E-3</c:v>
                </c:pt>
                <c:pt idx="67">
                  <c:v>1.8631167930163207E-3</c:v>
                </c:pt>
                <c:pt idx="68">
                  <c:v>1.7865800875041312E-3</c:v>
                </c:pt>
                <c:pt idx="69">
                  <c:v>1.6483094070555981E-3</c:v>
                </c:pt>
                <c:pt idx="70">
                  <c:v>1.6351143403608558E-3</c:v>
                </c:pt>
                <c:pt idx="71">
                  <c:v>1.5040255440291969E-3</c:v>
                </c:pt>
                <c:pt idx="72">
                  <c:v>1.488480438473432E-3</c:v>
                </c:pt>
                <c:pt idx="73">
                  <c:v>1.2929960667779907E-3</c:v>
                </c:pt>
                <c:pt idx="74">
                  <c:v>1.232210439562923E-3</c:v>
                </c:pt>
                <c:pt idx="75">
                  <c:v>1.1546253080318423E-3</c:v>
                </c:pt>
                <c:pt idx="76">
                  <c:v>1.1202189029113623E-3</c:v>
                </c:pt>
                <c:pt idx="77">
                  <c:v>1.083581698695554E-3</c:v>
                </c:pt>
                <c:pt idx="78">
                  <c:v>9.1965122206732921E-4</c:v>
                </c:pt>
                <c:pt idx="79">
                  <c:v>7.1579484537498265E-4</c:v>
                </c:pt>
                <c:pt idx="80">
                  <c:v>6.17961030956871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7ECAC4"/>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7ECAC4"/>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lang="en-US"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Neutrogena Mineral Ultra Sheer Stick FPS50 42g</c:v>
                </c:pt>
                <c:pt idx="69">
                  <c:v>Banana Boat Advanced Protection Face Fluid FPS50+ 50ml</c:v>
                </c:pt>
                <c:pt idx="70">
                  <c:v>Banana Boat Advanced Protection Sport Roll-on FPS50+ 75ml</c:v>
                </c:pt>
                <c:pt idx="71">
                  <c:v>Beautycare Antioxidant Face Lotion FPS50+ 50ml</c:v>
                </c:pt>
                <c:pt idx="72">
                  <c:v>Vaseline Sunscreen Stick FPS50+ 15g</c:v>
                </c:pt>
                <c:pt idx="73">
                  <c:v>Banana Boat Kids Sport Roll-on FPS50+ 75ml</c:v>
                </c:pt>
                <c:pt idx="74">
                  <c:v>Hawaiian Tropic Mineral Brush FPS30 4.25g</c:v>
                </c:pt>
                <c:pt idx="75">
                  <c:v>Vaseline Tone-up Cream FPS50+ 50ml</c:v>
                </c:pt>
                <c:pt idx="76">
                  <c:v>Vaseline Daily Use FPS50+ 50ml</c:v>
                </c:pt>
                <c:pt idx="77">
                  <c:v>Beautycare Glow Serum FPS50 3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77280953400678E-2</c:v>
                </c:pt>
                <c:pt idx="1">
                  <c:v>5.7750922991732255E-2</c:v>
                </c:pt>
                <c:pt idx="2">
                  <c:v>5.1048184970829517E-2</c:v>
                </c:pt>
                <c:pt idx="3">
                  <c:v>4.5330386283289788E-2</c:v>
                </c:pt>
                <c:pt idx="4">
                  <c:v>4.357126735301551E-2</c:v>
                </c:pt>
                <c:pt idx="5">
                  <c:v>4.3521534928725632E-2</c:v>
                </c:pt>
                <c:pt idx="6">
                  <c:v>3.563672216384102E-2</c:v>
                </c:pt>
                <c:pt idx="7">
                  <c:v>3.1187708053411929E-2</c:v>
                </c:pt>
                <c:pt idx="8">
                  <c:v>2.7965905125356301E-2</c:v>
                </c:pt>
                <c:pt idx="9">
                  <c:v>2.7227868997096935E-2</c:v>
                </c:pt>
                <c:pt idx="10">
                  <c:v>2.2708925648279425E-2</c:v>
                </c:pt>
                <c:pt idx="11">
                  <c:v>2.2652237734616949E-2</c:v>
                </c:pt>
                <c:pt idx="12">
                  <c:v>2.0362425033916741E-2</c:v>
                </c:pt>
                <c:pt idx="13">
                  <c:v>1.9434593852225124E-2</c:v>
                </c:pt>
                <c:pt idx="14">
                  <c:v>1.7309623974287494E-2</c:v>
                </c:pt>
                <c:pt idx="15">
                  <c:v>1.7298725854840376E-2</c:v>
                </c:pt>
                <c:pt idx="16">
                  <c:v>1.7136017653726677E-2</c:v>
                </c:pt>
                <c:pt idx="17">
                  <c:v>1.5304390969490057E-2</c:v>
                </c:pt>
                <c:pt idx="18">
                  <c:v>1.4839844748560293E-2</c:v>
                </c:pt>
                <c:pt idx="19">
                  <c:v>1.4656438495701586E-2</c:v>
                </c:pt>
                <c:pt idx="20">
                  <c:v>1.4082015297102405E-2</c:v>
                </c:pt>
                <c:pt idx="21">
                  <c:v>1.3521880795126957E-2</c:v>
                </c:pt>
                <c:pt idx="22">
                  <c:v>1.246917355201865E-2</c:v>
                </c:pt>
                <c:pt idx="23">
                  <c:v>1.2222237784141207E-2</c:v>
                </c:pt>
                <c:pt idx="24">
                  <c:v>1.2016356444688103E-2</c:v>
                </c:pt>
                <c:pt idx="25">
                  <c:v>1.1992168141999578E-2</c:v>
                </c:pt>
                <c:pt idx="26">
                  <c:v>1.1775209634276505E-2</c:v>
                </c:pt>
                <c:pt idx="27">
                  <c:v>1.0856783460949112E-2</c:v>
                </c:pt>
                <c:pt idx="28">
                  <c:v>1.0560880604101697E-2</c:v>
                </c:pt>
                <c:pt idx="29">
                  <c:v>1.0370404113284657E-2</c:v>
                </c:pt>
                <c:pt idx="30">
                  <c:v>9.9046714319594477E-3</c:v>
                </c:pt>
                <c:pt idx="31">
                  <c:v>9.8895565123915639E-3</c:v>
                </c:pt>
                <c:pt idx="32">
                  <c:v>9.7337330885631668E-3</c:v>
                </c:pt>
                <c:pt idx="33">
                  <c:v>9.6158262483298038E-3</c:v>
                </c:pt>
                <c:pt idx="34">
                  <c:v>9.2909282141431706E-3</c:v>
                </c:pt>
                <c:pt idx="35">
                  <c:v>9.2720225711740156E-3</c:v>
                </c:pt>
                <c:pt idx="36">
                  <c:v>9.2645522559774342E-3</c:v>
                </c:pt>
                <c:pt idx="37">
                  <c:v>9.2559440337512209E-3</c:v>
                </c:pt>
                <c:pt idx="38">
                  <c:v>7.5665944355986486E-3</c:v>
                </c:pt>
                <c:pt idx="39">
                  <c:v>7.2362716381883232E-3</c:v>
                </c:pt>
                <c:pt idx="40">
                  <c:v>7.0315802248962266E-3</c:v>
                </c:pt>
                <c:pt idx="41">
                  <c:v>6.9523202991781533E-3</c:v>
                </c:pt>
                <c:pt idx="42">
                  <c:v>6.8462922984275556E-3</c:v>
                </c:pt>
                <c:pt idx="43">
                  <c:v>6.6532558733695965E-3</c:v>
                </c:pt>
                <c:pt idx="44">
                  <c:v>6.5849061591645459E-3</c:v>
                </c:pt>
                <c:pt idx="45">
                  <c:v>6.5194512600607966E-3</c:v>
                </c:pt>
                <c:pt idx="46">
                  <c:v>6.1459391141393859E-3</c:v>
                </c:pt>
                <c:pt idx="47">
                  <c:v>6.060073607638875E-3</c:v>
                </c:pt>
                <c:pt idx="48">
                  <c:v>5.5719679070018657E-3</c:v>
                </c:pt>
                <c:pt idx="49">
                  <c:v>5.2787116077312613E-3</c:v>
                </c:pt>
                <c:pt idx="50">
                  <c:v>5.238950181476144E-3</c:v>
                </c:pt>
                <c:pt idx="51">
                  <c:v>5.0462405594437479E-3</c:v>
                </c:pt>
                <c:pt idx="52">
                  <c:v>4.8459471158025349E-3</c:v>
                </c:pt>
                <c:pt idx="53">
                  <c:v>4.8183464426845967E-3</c:v>
                </c:pt>
                <c:pt idx="54">
                  <c:v>4.7200557003717085E-3</c:v>
                </c:pt>
                <c:pt idx="55">
                  <c:v>4.6029154185285963E-3</c:v>
                </c:pt>
                <c:pt idx="56">
                  <c:v>4.5436748897801282E-3</c:v>
                </c:pt>
                <c:pt idx="57">
                  <c:v>4.1708456179114775E-3</c:v>
                </c:pt>
                <c:pt idx="58">
                  <c:v>4.1143318736573528E-3</c:v>
                </c:pt>
                <c:pt idx="59">
                  <c:v>3.9557079862406752E-3</c:v>
                </c:pt>
                <c:pt idx="60">
                  <c:v>3.791172708677573E-3</c:v>
                </c:pt>
                <c:pt idx="61">
                  <c:v>3.6541995738441774E-3</c:v>
                </c:pt>
                <c:pt idx="62">
                  <c:v>3.4615747102425495E-3</c:v>
                </c:pt>
                <c:pt idx="63">
                  <c:v>3.0954825505912983E-3</c:v>
                </c:pt>
                <c:pt idx="64">
                  <c:v>3.0605274391434286E-3</c:v>
                </c:pt>
                <c:pt idx="65">
                  <c:v>2.791049912401197E-3</c:v>
                </c:pt>
                <c:pt idx="66">
                  <c:v>2.6895442312210062E-3</c:v>
                </c:pt>
                <c:pt idx="67">
                  <c:v>1.8713692085513569E-3</c:v>
                </c:pt>
                <c:pt idx="68">
                  <c:v>1.6543063753187367E-3</c:v>
                </c:pt>
                <c:pt idx="69">
                  <c:v>1.6407605937150069E-3</c:v>
                </c:pt>
                <c:pt idx="70">
                  <c:v>1.5100055341609085E-3</c:v>
                </c:pt>
                <c:pt idx="71">
                  <c:v>1.4967456268917237E-3</c:v>
                </c:pt>
                <c:pt idx="72">
                  <c:v>1.2951208662752513E-3</c:v>
                </c:pt>
                <c:pt idx="73">
                  <c:v>1.2343669819561284E-3</c:v>
                </c:pt>
                <c:pt idx="74">
                  <c:v>1.1572528655326424E-3</c:v>
                </c:pt>
                <c:pt idx="75">
                  <c:v>1.1246342779003102E-3</c:v>
                </c:pt>
                <c:pt idx="76">
                  <c:v>1.0849884856173584E-3</c:v>
                </c:pt>
                <c:pt idx="77">
                  <c:v>1.0082753009693288E-3</c:v>
                </c:pt>
                <c:pt idx="78">
                  <c:v>9.2065004631187747E-4</c:v>
                </c:pt>
                <c:pt idx="79">
                  <c:v>7.1736780908596143E-4</c:v>
                </c:pt>
                <c:pt idx="80">
                  <c:v>6.208747199772942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lang="en-US"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Dry Balance Sport Stick FPS50+ 40g</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35933945390643E-2</c:v>
                </c:pt>
                <c:pt idx="1">
                  <c:v>5.7659695215661645E-2</c:v>
                </c:pt>
                <c:pt idx="2">
                  <c:v>5.1045117711516923E-2</c:v>
                </c:pt>
                <c:pt idx="3">
                  <c:v>4.5306601547029521E-2</c:v>
                </c:pt>
                <c:pt idx="4">
                  <c:v>4.3540462212390101E-2</c:v>
                </c:pt>
                <c:pt idx="5">
                  <c:v>4.3499126861840202E-2</c:v>
                </c:pt>
                <c:pt idx="6">
                  <c:v>3.5606859684102307E-2</c:v>
                </c:pt>
                <c:pt idx="7">
                  <c:v>3.1131317228658192E-2</c:v>
                </c:pt>
                <c:pt idx="8">
                  <c:v>2.7950089333194945E-2</c:v>
                </c:pt>
                <c:pt idx="9">
                  <c:v>2.7202200767908889E-2</c:v>
                </c:pt>
                <c:pt idx="10">
                  <c:v>2.2694442765283564E-2</c:v>
                </c:pt>
                <c:pt idx="11">
                  <c:v>2.2607708578539731E-2</c:v>
                </c:pt>
                <c:pt idx="12">
                  <c:v>2.0332086285221963E-2</c:v>
                </c:pt>
                <c:pt idx="13">
                  <c:v>1.9409097495612277E-2</c:v>
                </c:pt>
                <c:pt idx="14">
                  <c:v>1.7299936957823208E-2</c:v>
                </c:pt>
                <c:pt idx="15">
                  <c:v>1.7269027128541902E-2</c:v>
                </c:pt>
                <c:pt idx="16">
                  <c:v>1.7129428900825135E-2</c:v>
                </c:pt>
                <c:pt idx="17">
                  <c:v>1.5300942400360082E-2</c:v>
                </c:pt>
                <c:pt idx="18">
                  <c:v>1.480969411766862E-2</c:v>
                </c:pt>
                <c:pt idx="19">
                  <c:v>1.4656431584780161E-2</c:v>
                </c:pt>
                <c:pt idx="20">
                  <c:v>1.4071797626185677E-2</c:v>
                </c:pt>
                <c:pt idx="21">
                  <c:v>1.3504894163045875E-2</c:v>
                </c:pt>
                <c:pt idx="22">
                  <c:v>1.2454817041380212E-2</c:v>
                </c:pt>
                <c:pt idx="23">
                  <c:v>1.2156998399738037E-2</c:v>
                </c:pt>
                <c:pt idx="24">
                  <c:v>1.2006574117825665E-2</c:v>
                </c:pt>
                <c:pt idx="25">
                  <c:v>1.198907370474255E-2</c:v>
                </c:pt>
                <c:pt idx="26">
                  <c:v>1.1770211254224323E-2</c:v>
                </c:pt>
                <c:pt idx="27">
                  <c:v>1.0850363920835E-2</c:v>
                </c:pt>
                <c:pt idx="28">
                  <c:v>1.0558303480337866E-2</c:v>
                </c:pt>
                <c:pt idx="29">
                  <c:v>1.0351122493888344E-2</c:v>
                </c:pt>
                <c:pt idx="30">
                  <c:v>9.8903337129027519E-3</c:v>
                </c:pt>
                <c:pt idx="31">
                  <c:v>9.8844070463813202E-3</c:v>
                </c:pt>
                <c:pt idx="32">
                  <c:v>9.728900638728671E-3</c:v>
                </c:pt>
                <c:pt idx="33">
                  <c:v>9.6128088750666637E-3</c:v>
                </c:pt>
                <c:pt idx="34">
                  <c:v>9.2900939890578228E-3</c:v>
                </c:pt>
                <c:pt idx="35">
                  <c:v>9.2636091159197624E-3</c:v>
                </c:pt>
                <c:pt idx="36">
                  <c:v>9.252059782216715E-3</c:v>
                </c:pt>
                <c:pt idx="37">
                  <c:v>9.2504808534696406E-3</c:v>
                </c:pt>
                <c:pt idx="38">
                  <c:v>7.5663674838417332E-3</c:v>
                </c:pt>
                <c:pt idx="39">
                  <c:v>7.2315958979151124E-3</c:v>
                </c:pt>
                <c:pt idx="40">
                  <c:v>7.0336677661998618E-3</c:v>
                </c:pt>
                <c:pt idx="41">
                  <c:v>6.9393793488952832E-3</c:v>
                </c:pt>
                <c:pt idx="42">
                  <c:v>6.8398461386700677E-3</c:v>
                </c:pt>
                <c:pt idx="43">
                  <c:v>6.6529013523323396E-3</c:v>
                </c:pt>
                <c:pt idx="44">
                  <c:v>6.5723908874398846E-3</c:v>
                </c:pt>
                <c:pt idx="45">
                  <c:v>6.5005442198815128E-3</c:v>
                </c:pt>
                <c:pt idx="46">
                  <c:v>6.1241052381151989E-3</c:v>
                </c:pt>
                <c:pt idx="47">
                  <c:v>6.0639291656180722E-3</c:v>
                </c:pt>
                <c:pt idx="48">
                  <c:v>5.5588690893295803E-3</c:v>
                </c:pt>
                <c:pt idx="49">
                  <c:v>5.2746282837754545E-3</c:v>
                </c:pt>
                <c:pt idx="50">
                  <c:v>5.2271328708154196E-3</c:v>
                </c:pt>
                <c:pt idx="51">
                  <c:v>5.0256704521210119E-3</c:v>
                </c:pt>
                <c:pt idx="52">
                  <c:v>4.8258037687721198E-3</c:v>
                </c:pt>
                <c:pt idx="53">
                  <c:v>4.8043272719122078E-3</c:v>
                </c:pt>
                <c:pt idx="54">
                  <c:v>4.7157443328093513E-3</c:v>
                </c:pt>
                <c:pt idx="55">
                  <c:v>4.5952733687429134E-3</c:v>
                </c:pt>
                <c:pt idx="56">
                  <c:v>4.5369691104357578E-3</c:v>
                </c:pt>
                <c:pt idx="57">
                  <c:v>4.1575068606877858E-3</c:v>
                </c:pt>
                <c:pt idx="58">
                  <c:v>4.1026754667151206E-3</c:v>
                </c:pt>
                <c:pt idx="59">
                  <c:v>3.9496514470606578E-3</c:v>
                </c:pt>
                <c:pt idx="60">
                  <c:v>3.7853118246729167E-3</c:v>
                </c:pt>
                <c:pt idx="61">
                  <c:v>3.649550665525273E-3</c:v>
                </c:pt>
                <c:pt idx="62">
                  <c:v>3.4533811228186673E-3</c:v>
                </c:pt>
                <c:pt idx="63">
                  <c:v>3.0867165403017818E-3</c:v>
                </c:pt>
                <c:pt idx="64">
                  <c:v>3.0479690955595765E-3</c:v>
                </c:pt>
                <c:pt idx="65">
                  <c:v>2.7864388141406239E-3</c:v>
                </c:pt>
                <c:pt idx="66">
                  <c:v>2.6891510921169038E-3</c:v>
                </c:pt>
                <c:pt idx="67">
                  <c:v>2.0423592006343786E-3</c:v>
                </c:pt>
                <c:pt idx="68">
                  <c:v>1.8694827026608904E-3</c:v>
                </c:pt>
                <c:pt idx="69">
                  <c:v>1.6540953100851758E-3</c:v>
                </c:pt>
                <c:pt idx="70">
                  <c:v>1.6311244085207997E-3</c:v>
                </c:pt>
                <c:pt idx="71">
                  <c:v>1.4991662485609857E-3</c:v>
                </c:pt>
                <c:pt idx="72">
                  <c:v>1.4941229013151753E-3</c:v>
                </c:pt>
                <c:pt idx="73">
                  <c:v>1.2941766621935948E-3</c:v>
                </c:pt>
                <c:pt idx="74">
                  <c:v>1.230595479196185E-3</c:v>
                </c:pt>
                <c:pt idx="75">
                  <c:v>1.1535142314735042E-3</c:v>
                </c:pt>
                <c:pt idx="76">
                  <c:v>1.1219064952977897E-3</c:v>
                </c:pt>
                <c:pt idx="77">
                  <c:v>1.0849227566872388E-3</c:v>
                </c:pt>
                <c:pt idx="78">
                  <c:v>9.1843783863956754E-4</c:v>
                </c:pt>
                <c:pt idx="79">
                  <c:v>7.160294895445249E-4</c:v>
                </c:pt>
                <c:pt idx="80">
                  <c:v>6.195163596715710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7ECAC4"/>
              </a:solidFill>
            </c:spPr>
            <c:extLst>
              <c:ext xmlns:c16="http://schemas.microsoft.com/office/drawing/2014/chart" uri="{C3380CC4-5D6E-409C-BE32-E72D297353CC}">
                <c16:uniqueId val="{00000087-B2E8-4080-83D6-EECA18439E6A}"/>
              </c:ext>
            </c:extLst>
          </c:dPt>
          <c:dPt>
            <c:idx val="68"/>
            <c:invertIfNegative val="1"/>
            <c:bubble3D val="0"/>
            <c:spPr>
              <a:solidFill>
                <a:srgbClr val="006C6D"/>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r>
                      <a:rPr lang="en-US"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Pro Age Color Face Fluid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4116586337942E-2</c:v>
                </c:pt>
                <c:pt idx="1">
                  <c:v>5.7727009809229554E-2</c:v>
                </c:pt>
                <c:pt idx="2">
                  <c:v>5.1033229667225163E-2</c:v>
                </c:pt>
                <c:pt idx="3">
                  <c:v>4.5298994266683268E-2</c:v>
                </c:pt>
                <c:pt idx="4">
                  <c:v>4.3539845978341117E-2</c:v>
                </c:pt>
                <c:pt idx="5">
                  <c:v>4.3503334339193664E-2</c:v>
                </c:pt>
                <c:pt idx="6">
                  <c:v>3.562369311322839E-2</c:v>
                </c:pt>
                <c:pt idx="7">
                  <c:v>3.1174131128512989E-2</c:v>
                </c:pt>
                <c:pt idx="8">
                  <c:v>2.7958092011429406E-2</c:v>
                </c:pt>
                <c:pt idx="9">
                  <c:v>2.721719822032883E-2</c:v>
                </c:pt>
                <c:pt idx="10">
                  <c:v>2.2691604514689094E-2</c:v>
                </c:pt>
                <c:pt idx="11">
                  <c:v>2.2640358146830651E-2</c:v>
                </c:pt>
                <c:pt idx="12">
                  <c:v>2.0341978264644494E-2</c:v>
                </c:pt>
                <c:pt idx="13">
                  <c:v>1.9427710922205261E-2</c:v>
                </c:pt>
                <c:pt idx="14">
                  <c:v>1.7305253145110864E-2</c:v>
                </c:pt>
                <c:pt idx="15">
                  <c:v>1.7286023296873398E-2</c:v>
                </c:pt>
                <c:pt idx="16">
                  <c:v>1.7131845400897558E-2</c:v>
                </c:pt>
                <c:pt idx="17">
                  <c:v>1.528717494779972E-2</c:v>
                </c:pt>
                <c:pt idx="18">
                  <c:v>1.4817577628772239E-2</c:v>
                </c:pt>
                <c:pt idx="19">
                  <c:v>1.4636072421214166E-2</c:v>
                </c:pt>
                <c:pt idx="20">
                  <c:v>1.406738908200484E-2</c:v>
                </c:pt>
                <c:pt idx="21">
                  <c:v>1.3507021857534326E-2</c:v>
                </c:pt>
                <c:pt idx="22">
                  <c:v>1.2461700156210901E-2</c:v>
                </c:pt>
                <c:pt idx="23">
                  <c:v>1.2212222979255243E-2</c:v>
                </c:pt>
                <c:pt idx="24">
                  <c:v>1.2012942369161374E-2</c:v>
                </c:pt>
                <c:pt idx="25">
                  <c:v>1.1985340872291875E-2</c:v>
                </c:pt>
                <c:pt idx="26">
                  <c:v>1.1768079073363228E-2</c:v>
                </c:pt>
                <c:pt idx="27">
                  <c:v>1.0836051440423438E-2</c:v>
                </c:pt>
                <c:pt idx="28">
                  <c:v>1.0543960936807463E-2</c:v>
                </c:pt>
                <c:pt idx="29">
                  <c:v>1.0363034879322034E-2</c:v>
                </c:pt>
                <c:pt idx="30">
                  <c:v>9.8998653671740558E-3</c:v>
                </c:pt>
                <c:pt idx="31">
                  <c:v>9.864999044565342E-3</c:v>
                </c:pt>
                <c:pt idx="32">
                  <c:v>9.7225367793286541E-3</c:v>
                </c:pt>
                <c:pt idx="33">
                  <c:v>9.6102456031991346E-3</c:v>
                </c:pt>
                <c:pt idx="34">
                  <c:v>9.2777536078499281E-3</c:v>
                </c:pt>
                <c:pt idx="35">
                  <c:v>9.2552794413237726E-3</c:v>
                </c:pt>
                <c:pt idx="36">
                  <c:v>9.2537720042908216E-3</c:v>
                </c:pt>
                <c:pt idx="37">
                  <c:v>9.2352470874547034E-3</c:v>
                </c:pt>
                <c:pt idx="38">
                  <c:v>7.5514829751739451E-3</c:v>
                </c:pt>
                <c:pt idx="39">
                  <c:v>7.2229459769509582E-3</c:v>
                </c:pt>
                <c:pt idx="40">
                  <c:v>7.0120363132150617E-3</c:v>
                </c:pt>
                <c:pt idx="41">
                  <c:v>6.9429083315322316E-3</c:v>
                </c:pt>
                <c:pt idx="42">
                  <c:v>6.8441356362010375E-3</c:v>
                </c:pt>
                <c:pt idx="43">
                  <c:v>6.6461019631652365E-3</c:v>
                </c:pt>
                <c:pt idx="44">
                  <c:v>6.5740494131881081E-3</c:v>
                </c:pt>
                <c:pt idx="45">
                  <c:v>6.514025997116835E-3</c:v>
                </c:pt>
                <c:pt idx="46">
                  <c:v>6.1399886251435254E-3</c:v>
                </c:pt>
                <c:pt idx="47">
                  <c:v>6.046257235125212E-3</c:v>
                </c:pt>
                <c:pt idx="48">
                  <c:v>5.5619290598686319E-3</c:v>
                </c:pt>
                <c:pt idx="49">
                  <c:v>5.2729271885327087E-3</c:v>
                </c:pt>
                <c:pt idx="50">
                  <c:v>5.2225599465436099E-3</c:v>
                </c:pt>
                <c:pt idx="51">
                  <c:v>5.0381932067734281E-3</c:v>
                </c:pt>
                <c:pt idx="52">
                  <c:v>4.8412034938976976E-3</c:v>
                </c:pt>
                <c:pt idx="53">
                  <c:v>4.8133946380506032E-3</c:v>
                </c:pt>
                <c:pt idx="54">
                  <c:v>4.7132541160969637E-3</c:v>
                </c:pt>
                <c:pt idx="55">
                  <c:v>4.6009115274215457E-3</c:v>
                </c:pt>
                <c:pt idx="56">
                  <c:v>4.5382558913524048E-3</c:v>
                </c:pt>
                <c:pt idx="57">
                  <c:v>4.1662091711238093E-3</c:v>
                </c:pt>
                <c:pt idx="58">
                  <c:v>4.10809890659713E-3</c:v>
                </c:pt>
                <c:pt idx="59">
                  <c:v>3.9479956816420043E-3</c:v>
                </c:pt>
                <c:pt idx="60">
                  <c:v>3.7864404082746097E-3</c:v>
                </c:pt>
                <c:pt idx="61">
                  <c:v>3.64994275963162E-3</c:v>
                </c:pt>
                <c:pt idx="62">
                  <c:v>3.4584984668234674E-3</c:v>
                </c:pt>
                <c:pt idx="63">
                  <c:v>3.0910096478273443E-3</c:v>
                </c:pt>
                <c:pt idx="64">
                  <c:v>3.0573002873687046E-3</c:v>
                </c:pt>
                <c:pt idx="65">
                  <c:v>2.7895105206835031E-3</c:v>
                </c:pt>
                <c:pt idx="66">
                  <c:v>2.6846332831845254E-3</c:v>
                </c:pt>
                <c:pt idx="67">
                  <c:v>1.8661119795108259E-3</c:v>
                </c:pt>
                <c:pt idx="68">
                  <c:v>1.8168748342503862E-3</c:v>
                </c:pt>
                <c:pt idx="69">
                  <c:v>1.652367260858361E-3</c:v>
                </c:pt>
                <c:pt idx="70">
                  <c:v>1.6349626848318549E-3</c:v>
                </c:pt>
                <c:pt idx="71">
                  <c:v>1.5076557454510161E-3</c:v>
                </c:pt>
                <c:pt idx="72">
                  <c:v>1.4854052847174232E-3</c:v>
                </c:pt>
                <c:pt idx="73">
                  <c:v>1.292075900621999E-3</c:v>
                </c:pt>
                <c:pt idx="74">
                  <c:v>1.2309347209910283E-3</c:v>
                </c:pt>
                <c:pt idx="75">
                  <c:v>1.155553454898514E-3</c:v>
                </c:pt>
                <c:pt idx="76">
                  <c:v>1.1226724344538088E-3</c:v>
                </c:pt>
                <c:pt idx="77">
                  <c:v>1.082968795137088E-3</c:v>
                </c:pt>
                <c:pt idx="78">
                  <c:v>9.2110194257352175E-4</c:v>
                </c:pt>
                <c:pt idx="79">
                  <c:v>7.156792803173198E-4</c:v>
                </c:pt>
                <c:pt idx="80">
                  <c:v>6.1969934473004511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7ECAC4"/>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006C6D"/>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r>
                      <a:rPr lang="en-US"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eautycare Glow Lip Oil FPS5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65363330782884E-2</c:v>
                </c:pt>
                <c:pt idx="1">
                  <c:v>5.7663352032594602E-2</c:v>
                </c:pt>
                <c:pt idx="2">
                  <c:v>5.100430735339255E-2</c:v>
                </c:pt>
                <c:pt idx="3">
                  <c:v>4.5244427178931665E-2</c:v>
                </c:pt>
                <c:pt idx="4">
                  <c:v>4.3501885721937132E-2</c:v>
                </c:pt>
                <c:pt idx="5">
                  <c:v>4.3476876429684994E-2</c:v>
                </c:pt>
                <c:pt idx="6">
                  <c:v>3.5586986484869958E-2</c:v>
                </c:pt>
                <c:pt idx="7">
                  <c:v>3.1145622055832978E-2</c:v>
                </c:pt>
                <c:pt idx="8">
                  <c:v>2.7945082488151429E-2</c:v>
                </c:pt>
                <c:pt idx="9">
                  <c:v>2.7192715317405393E-2</c:v>
                </c:pt>
                <c:pt idx="10">
                  <c:v>2.2663886467339446E-2</c:v>
                </c:pt>
                <c:pt idx="11">
                  <c:v>2.2604789329574135E-2</c:v>
                </c:pt>
                <c:pt idx="12">
                  <c:v>2.0304248410633108E-2</c:v>
                </c:pt>
                <c:pt idx="13">
                  <c:v>1.9410380477848672E-2</c:v>
                </c:pt>
                <c:pt idx="14">
                  <c:v>1.7286745111879054E-2</c:v>
                </c:pt>
                <c:pt idx="15">
                  <c:v>1.7246761206306652E-2</c:v>
                </c:pt>
                <c:pt idx="16">
                  <c:v>1.7106427601497297E-2</c:v>
                </c:pt>
                <c:pt idx="17">
                  <c:v>1.5264032808869055E-2</c:v>
                </c:pt>
                <c:pt idx="18">
                  <c:v>1.4793966406515978E-2</c:v>
                </c:pt>
                <c:pt idx="19">
                  <c:v>1.4620560027625927E-2</c:v>
                </c:pt>
                <c:pt idx="20">
                  <c:v>1.4058945045949199E-2</c:v>
                </c:pt>
                <c:pt idx="21">
                  <c:v>1.3479982977963672E-2</c:v>
                </c:pt>
                <c:pt idx="22">
                  <c:v>1.2432714629695902E-2</c:v>
                </c:pt>
                <c:pt idx="23">
                  <c:v>1.2194142376778712E-2</c:v>
                </c:pt>
                <c:pt idx="24">
                  <c:v>1.1996797459990095E-2</c:v>
                </c:pt>
                <c:pt idx="25">
                  <c:v>1.1980051767330586E-2</c:v>
                </c:pt>
                <c:pt idx="26">
                  <c:v>1.174717905662644E-2</c:v>
                </c:pt>
                <c:pt idx="27">
                  <c:v>1.0815544310509989E-2</c:v>
                </c:pt>
                <c:pt idx="28">
                  <c:v>1.0518114933601519E-2</c:v>
                </c:pt>
                <c:pt idx="29">
                  <c:v>1.0338663898469823E-2</c:v>
                </c:pt>
                <c:pt idx="30">
                  <c:v>9.8754535506714158E-3</c:v>
                </c:pt>
                <c:pt idx="31">
                  <c:v>9.8613851497115976E-3</c:v>
                </c:pt>
                <c:pt idx="32">
                  <c:v>9.7107846280639031E-3</c:v>
                </c:pt>
                <c:pt idx="33">
                  <c:v>9.5984375113375119E-3</c:v>
                </c:pt>
                <c:pt idx="34">
                  <c:v>9.2635009997645464E-3</c:v>
                </c:pt>
                <c:pt idx="35">
                  <c:v>9.2421709185695079E-3</c:v>
                </c:pt>
                <c:pt idx="36">
                  <c:v>9.241758438943027E-3</c:v>
                </c:pt>
                <c:pt idx="37">
                  <c:v>9.2331230824961395E-3</c:v>
                </c:pt>
                <c:pt idx="38">
                  <c:v>7.5372376652848242E-3</c:v>
                </c:pt>
                <c:pt idx="39">
                  <c:v>7.2008462027806641E-3</c:v>
                </c:pt>
                <c:pt idx="40">
                  <c:v>7.0067565630807125E-3</c:v>
                </c:pt>
                <c:pt idx="41">
                  <c:v>6.9281788120882405E-3</c:v>
                </c:pt>
                <c:pt idx="42">
                  <c:v>6.8380039197245522E-3</c:v>
                </c:pt>
                <c:pt idx="43">
                  <c:v>6.6385242304431028E-3</c:v>
                </c:pt>
                <c:pt idx="44">
                  <c:v>6.5586196581957608E-3</c:v>
                </c:pt>
                <c:pt idx="45">
                  <c:v>6.5019497107507412E-3</c:v>
                </c:pt>
                <c:pt idx="46">
                  <c:v>6.1302037575084239E-3</c:v>
                </c:pt>
                <c:pt idx="47">
                  <c:v>6.0436865902149649E-3</c:v>
                </c:pt>
                <c:pt idx="48">
                  <c:v>5.546865072915721E-3</c:v>
                </c:pt>
                <c:pt idx="49">
                  <c:v>5.2660150102755614E-3</c:v>
                </c:pt>
                <c:pt idx="50">
                  <c:v>5.2198578960517654E-3</c:v>
                </c:pt>
                <c:pt idx="51">
                  <c:v>5.0279370627387089E-3</c:v>
                </c:pt>
                <c:pt idx="52">
                  <c:v>4.8299454633874053E-3</c:v>
                </c:pt>
                <c:pt idx="53">
                  <c:v>4.8040544314569139E-3</c:v>
                </c:pt>
                <c:pt idx="54">
                  <c:v>4.70637819539684E-3</c:v>
                </c:pt>
                <c:pt idx="55">
                  <c:v>4.581676025599335E-3</c:v>
                </c:pt>
                <c:pt idx="56">
                  <c:v>4.5280570247461568E-3</c:v>
                </c:pt>
                <c:pt idx="57">
                  <c:v>4.1590085170050625E-3</c:v>
                </c:pt>
                <c:pt idx="58">
                  <c:v>4.0981605228296199E-3</c:v>
                </c:pt>
                <c:pt idx="59">
                  <c:v>3.9385843665243597E-3</c:v>
                </c:pt>
                <c:pt idx="60">
                  <c:v>3.7802171237880651E-3</c:v>
                </c:pt>
                <c:pt idx="61">
                  <c:v>3.6439012260804011E-3</c:v>
                </c:pt>
                <c:pt idx="62">
                  <c:v>3.4456504339253542E-3</c:v>
                </c:pt>
                <c:pt idx="63">
                  <c:v>3.0843979620152847E-3</c:v>
                </c:pt>
                <c:pt idx="64">
                  <c:v>3.0818098712687048E-3</c:v>
                </c:pt>
                <c:pt idx="65">
                  <c:v>3.0506102977676435E-3</c:v>
                </c:pt>
                <c:pt idx="66">
                  <c:v>2.7786697426925807E-3</c:v>
                </c:pt>
                <c:pt idx="67">
                  <c:v>2.6824828126553678E-3</c:v>
                </c:pt>
                <c:pt idx="68">
                  <c:v>1.8634259624505827E-3</c:v>
                </c:pt>
                <c:pt idx="69">
                  <c:v>1.6473505071384095E-3</c:v>
                </c:pt>
                <c:pt idx="70">
                  <c:v>1.6337335887432545E-3</c:v>
                </c:pt>
                <c:pt idx="71">
                  <c:v>1.4964265329615782E-3</c:v>
                </c:pt>
                <c:pt idx="72">
                  <c:v>1.4845445129406797E-3</c:v>
                </c:pt>
                <c:pt idx="73">
                  <c:v>1.2877617639683375E-3</c:v>
                </c:pt>
                <c:pt idx="74">
                  <c:v>1.2281968971605529E-3</c:v>
                </c:pt>
                <c:pt idx="75">
                  <c:v>1.1518228308905983E-3</c:v>
                </c:pt>
                <c:pt idx="76">
                  <c:v>1.1221703086607298E-3</c:v>
                </c:pt>
                <c:pt idx="77">
                  <c:v>1.0797803405679905E-3</c:v>
                </c:pt>
                <c:pt idx="78">
                  <c:v>9.1722636643628869E-4</c:v>
                </c:pt>
                <c:pt idx="79">
                  <c:v>7.1478341686742207E-4</c:v>
                </c:pt>
                <c:pt idx="80">
                  <c:v>6.1732382387483351E-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99</c:v>
                </c:pt>
                <c:pt idx="1">
                  <c:v>99</c:v>
                </c:pt>
                <c:pt idx="2">
                  <c:v>99</c:v>
                </c:pt>
                <c:pt idx="3">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103.12721487355863</c:v>
                </c:pt>
                <c:pt idx="1">
                  <c:v>101.20300446320942</c:v>
                </c:pt>
                <c:pt idx="2">
                  <c:v>101.31104929857378</c:v>
                </c:pt>
                <c:pt idx="3">
                  <c:v>110.5744302541076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212.53536054399723</c:v>
                </c:pt>
                <c:pt idx="1">
                  <c:v>146.89964389334978</c:v>
                </c:pt>
                <c:pt idx="2">
                  <c:v>121.80832831678146</c:v>
                </c:pt>
                <c:pt idx="3">
                  <c:v>325.81391223252319</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0200645944209164E-2</c:v>
                </c:pt>
                <c:pt idx="1">
                  <c:v>4.9475727089901909E-2</c:v>
                </c:pt>
                <c:pt idx="2">
                  <c:v>3.9654566115325467E-2</c:v>
                </c:pt>
                <c:pt idx="3">
                  <c:v>2.7610977645276896E-2</c:v>
                </c:pt>
                <c:pt idx="4">
                  <c:v>2.9304774676602384E-2</c:v>
                </c:pt>
                <c:pt idx="5">
                  <c:v>2.7941536866177355E-2</c:v>
                </c:pt>
                <c:pt idx="6">
                  <c:v>2.5515503283629275E-2</c:v>
                </c:pt>
                <c:pt idx="7">
                  <c:v>2.6235033920236666E-2</c:v>
                </c:pt>
                <c:pt idx="8">
                  <c:v>2.5161615886038241E-2</c:v>
                </c:pt>
                <c:pt idx="9">
                  <c:v>2.265206039296699E-2</c:v>
                </c:pt>
                <c:pt idx="10">
                  <c:v>2.028586203986902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9633871259705443E-2</c:v>
                </c:pt>
                <c:pt idx="1">
                  <c:v>5.922784457968519E-2</c:v>
                </c:pt>
                <c:pt idx="2">
                  <c:v>3.6450407068832166E-2</c:v>
                </c:pt>
                <c:pt idx="3">
                  <c:v>3.6136869492586272E-2</c:v>
                </c:pt>
                <c:pt idx="4">
                  <c:v>4.4444071845679355E-2</c:v>
                </c:pt>
                <c:pt idx="5">
                  <c:v>2.7680119672620591E-2</c:v>
                </c:pt>
                <c:pt idx="6">
                  <c:v>2.759075676902643E-2</c:v>
                </c:pt>
                <c:pt idx="7">
                  <c:v>2.4733816967755853E-2</c:v>
                </c:pt>
                <c:pt idx="8">
                  <c:v>2.2787901459555816E-2</c:v>
                </c:pt>
                <c:pt idx="9">
                  <c:v>2.4743402780309069E-2</c:v>
                </c:pt>
                <c:pt idx="10">
                  <c:v>2.6389677390072815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2971425273393359E-2</c:v>
                </c:pt>
                <c:pt idx="1">
                  <c:v>4.6030223846736509E-2</c:v>
                </c:pt>
                <c:pt idx="2">
                  <c:v>3.7522353519911573E-2</c:v>
                </c:pt>
                <c:pt idx="3">
                  <c:v>3.7332197183649891E-2</c:v>
                </c:pt>
                <c:pt idx="4">
                  <c:v>3.2895586638205486E-2</c:v>
                </c:pt>
                <c:pt idx="5">
                  <c:v>2.1899565137899521E-2</c:v>
                </c:pt>
                <c:pt idx="6">
                  <c:v>2.5329025010254216E-2</c:v>
                </c:pt>
                <c:pt idx="7">
                  <c:v>2.493543879889602E-2</c:v>
                </c:pt>
                <c:pt idx="8">
                  <c:v>2.4901879390780236E-2</c:v>
                </c:pt>
                <c:pt idx="9">
                  <c:v>2.0902492445837705E-2</c:v>
                </c:pt>
                <c:pt idx="10">
                  <c:v>2.4120583750271249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5.5779112886499449E-2</c:v>
                </c:pt>
                <c:pt idx="1">
                  <c:v>4.775289498011611E-2</c:v>
                </c:pt>
                <c:pt idx="2">
                  <c:v>3.4409851628488627E-2</c:v>
                </c:pt>
                <c:pt idx="3">
                  <c:v>3.96819797020872E-2</c:v>
                </c:pt>
                <c:pt idx="4">
                  <c:v>2.875422641490925E-2</c:v>
                </c:pt>
                <c:pt idx="5">
                  <c:v>2.4431862219022871E-2</c:v>
                </c:pt>
                <c:pt idx="6">
                  <c:v>2.3498127841630537E-2</c:v>
                </c:pt>
                <c:pt idx="7">
                  <c:v>1.971761282814723E-2</c:v>
                </c:pt>
                <c:pt idx="8">
                  <c:v>2.2323585054478619E-2</c:v>
                </c:pt>
                <c:pt idx="9">
                  <c:v>2.4213425691536436E-2</c:v>
                </c:pt>
                <c:pt idx="10">
                  <c:v>2.1711277649206582E-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006C6D"/>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r>
                      <a:rPr lang="en-US"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Caribbean Beach Ultra Cream FPS50+ 250g</c:v>
                </c:pt>
                <c:pt idx="24">
                  <c:v>La Roche Posay Anthelios Uvmune 400 Fluid FPS50+ 50ml</c:v>
                </c:pt>
                <c:pt idx="25">
                  <c:v>Banana Boat Dry Balance Sport Spray FPS50 17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Banana Boat Kids Sport Spray FPS50+ 24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Dry Balance Sport Lotion FPS50+ 180ml</c:v>
                </c:pt>
                <c:pt idx="54">
                  <c:v>Banana Boat Aqua Protect Sport Spray FPS50+ 170g</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279745748951913E-2</c:v>
                </c:pt>
                <c:pt idx="1">
                  <c:v>5.7330186046269632E-2</c:v>
                </c:pt>
                <c:pt idx="2">
                  <c:v>5.0906822369047866E-2</c:v>
                </c:pt>
                <c:pt idx="3">
                  <c:v>4.5215098983439617E-2</c:v>
                </c:pt>
                <c:pt idx="4">
                  <c:v>4.3320292450544647E-2</c:v>
                </c:pt>
                <c:pt idx="5">
                  <c:v>4.3299940262499281E-2</c:v>
                </c:pt>
                <c:pt idx="6">
                  <c:v>3.5445420119642246E-2</c:v>
                </c:pt>
                <c:pt idx="7">
                  <c:v>3.0788154377908127E-2</c:v>
                </c:pt>
                <c:pt idx="8">
                  <c:v>2.7837592247600716E-2</c:v>
                </c:pt>
                <c:pt idx="9">
                  <c:v>2.7038394116647643E-2</c:v>
                </c:pt>
                <c:pt idx="10">
                  <c:v>2.2604359134739418E-2</c:v>
                </c:pt>
                <c:pt idx="11">
                  <c:v>2.2502086870494972E-2</c:v>
                </c:pt>
                <c:pt idx="12">
                  <c:v>2.0249018203589892E-2</c:v>
                </c:pt>
                <c:pt idx="13">
                  <c:v>1.9244945763502174E-2</c:v>
                </c:pt>
                <c:pt idx="14">
                  <c:v>1.7245093285664304E-2</c:v>
                </c:pt>
                <c:pt idx="15">
                  <c:v>1.720739446513277E-2</c:v>
                </c:pt>
                <c:pt idx="16">
                  <c:v>1.7073598876736491E-2</c:v>
                </c:pt>
                <c:pt idx="17">
                  <c:v>1.5275553594789644E-2</c:v>
                </c:pt>
                <c:pt idx="18">
                  <c:v>1.4740981171594385E-2</c:v>
                </c:pt>
                <c:pt idx="19">
                  <c:v>1.4624040545895518E-2</c:v>
                </c:pt>
                <c:pt idx="20">
                  <c:v>1.4021768440744884E-2</c:v>
                </c:pt>
                <c:pt idx="21">
                  <c:v>1.3440277690623356E-2</c:v>
                </c:pt>
                <c:pt idx="22">
                  <c:v>1.2420658702863531E-2</c:v>
                </c:pt>
                <c:pt idx="23">
                  <c:v>1.1985505050102763E-2</c:v>
                </c:pt>
                <c:pt idx="24">
                  <c:v>1.1934742573578169E-2</c:v>
                </c:pt>
                <c:pt idx="25">
                  <c:v>1.1859054772739561E-2</c:v>
                </c:pt>
                <c:pt idx="26">
                  <c:v>1.1751697181935953E-2</c:v>
                </c:pt>
                <c:pt idx="27">
                  <c:v>1.0830418230169872E-2</c:v>
                </c:pt>
                <c:pt idx="28">
                  <c:v>1.0527232760568373E-2</c:v>
                </c:pt>
                <c:pt idx="29">
                  <c:v>1.0330638677453645E-2</c:v>
                </c:pt>
                <c:pt idx="30">
                  <c:v>9.8701037817581355E-3</c:v>
                </c:pt>
                <c:pt idx="31">
                  <c:v>9.8502427788242936E-3</c:v>
                </c:pt>
                <c:pt idx="32">
                  <c:v>9.7116144622161945E-3</c:v>
                </c:pt>
                <c:pt idx="33">
                  <c:v>9.5845056662039463E-3</c:v>
                </c:pt>
                <c:pt idx="34">
                  <c:v>9.2740183437715895E-3</c:v>
                </c:pt>
                <c:pt idx="35">
                  <c:v>9.2426625879453751E-3</c:v>
                </c:pt>
                <c:pt idx="36">
                  <c:v>9.2252254936215257E-3</c:v>
                </c:pt>
                <c:pt idx="37">
                  <c:v>9.2107685644553464E-3</c:v>
                </c:pt>
                <c:pt idx="38">
                  <c:v>7.5354718150281615E-3</c:v>
                </c:pt>
                <c:pt idx="39">
                  <c:v>7.2190138070775253E-3</c:v>
                </c:pt>
                <c:pt idx="40">
                  <c:v>7.0078156779096335E-3</c:v>
                </c:pt>
                <c:pt idx="41">
                  <c:v>6.9388286615621013E-3</c:v>
                </c:pt>
                <c:pt idx="42">
                  <c:v>6.8145368965287934E-3</c:v>
                </c:pt>
                <c:pt idx="43">
                  <c:v>6.635381666727589E-3</c:v>
                </c:pt>
                <c:pt idx="44">
                  <c:v>6.6323164170590792E-3</c:v>
                </c:pt>
                <c:pt idx="45">
                  <c:v>6.5505596589092779E-3</c:v>
                </c:pt>
                <c:pt idx="46">
                  <c:v>6.4104650578671388E-3</c:v>
                </c:pt>
                <c:pt idx="47">
                  <c:v>6.0602388075183264E-3</c:v>
                </c:pt>
                <c:pt idx="48">
                  <c:v>6.0446643171101983E-3</c:v>
                </c:pt>
                <c:pt idx="49">
                  <c:v>5.540567097499987E-3</c:v>
                </c:pt>
                <c:pt idx="50">
                  <c:v>5.2478670617161364E-3</c:v>
                </c:pt>
                <c:pt idx="51">
                  <c:v>5.1722228293137381E-3</c:v>
                </c:pt>
                <c:pt idx="52">
                  <c:v>4.9986771867869435E-3</c:v>
                </c:pt>
                <c:pt idx="53">
                  <c:v>4.7524848430044939E-3</c:v>
                </c:pt>
                <c:pt idx="54">
                  <c:v>4.7188895512816492E-3</c:v>
                </c:pt>
                <c:pt idx="55">
                  <c:v>4.705122814526559E-3</c:v>
                </c:pt>
                <c:pt idx="56">
                  <c:v>4.5782146955696389E-3</c:v>
                </c:pt>
                <c:pt idx="57">
                  <c:v>4.5353591652840105E-3</c:v>
                </c:pt>
                <c:pt idx="58">
                  <c:v>4.0974150769131773E-3</c:v>
                </c:pt>
                <c:pt idx="59">
                  <c:v>4.0785913555673433E-3</c:v>
                </c:pt>
                <c:pt idx="60">
                  <c:v>3.9463340624189963E-3</c:v>
                </c:pt>
                <c:pt idx="61">
                  <c:v>3.7754865213418596E-3</c:v>
                </c:pt>
                <c:pt idx="62">
                  <c:v>3.6288706681206844E-3</c:v>
                </c:pt>
                <c:pt idx="63">
                  <c:v>3.4300473691577871E-3</c:v>
                </c:pt>
                <c:pt idx="64">
                  <c:v>3.0561008277862956E-3</c:v>
                </c:pt>
                <c:pt idx="65">
                  <c:v>3.0011961146522224E-3</c:v>
                </c:pt>
                <c:pt idx="66">
                  <c:v>2.7686820754162299E-3</c:v>
                </c:pt>
                <c:pt idx="67">
                  <c:v>2.67984917803678E-3</c:v>
                </c:pt>
                <c:pt idx="68">
                  <c:v>1.8576646074715904E-3</c:v>
                </c:pt>
                <c:pt idx="69">
                  <c:v>1.6475155711525755E-3</c:v>
                </c:pt>
                <c:pt idx="70">
                  <c:v>1.6134367926380812E-3</c:v>
                </c:pt>
                <c:pt idx="71">
                  <c:v>1.4815968775138565E-3</c:v>
                </c:pt>
                <c:pt idx="72">
                  <c:v>1.4765463999821431E-3</c:v>
                </c:pt>
                <c:pt idx="73">
                  <c:v>1.2825265251187516E-3</c:v>
                </c:pt>
                <c:pt idx="74">
                  <c:v>1.2242089283641315E-3</c:v>
                </c:pt>
                <c:pt idx="75">
                  <c:v>1.1451106870791381E-3</c:v>
                </c:pt>
                <c:pt idx="76">
                  <c:v>1.1125017629471565E-3</c:v>
                </c:pt>
                <c:pt idx="77">
                  <c:v>1.0789578770601588E-3</c:v>
                </c:pt>
                <c:pt idx="78">
                  <c:v>8.9715100626142812E-4</c:v>
                </c:pt>
                <c:pt idx="79">
                  <c:v>7.1337245027158422E-4</c:v>
                </c:pt>
                <c:pt idx="80">
                  <c:v>6.082848421790986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006C6D"/>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r>
                      <a:rPr lang="en-US"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Caribbean Beach Ultra Cream FPS50+ 250g</c:v>
                </c:pt>
                <c:pt idx="24">
                  <c:v>La Roche Posay Anthelios Uvmune 400 Fluid FPS50+ 50ml</c:v>
                </c:pt>
                <c:pt idx="25">
                  <c:v>Banana Boat Dry Balance Sport Spray FPS50 17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Banana Boat Kids Sport Spray FPS50+ 24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Dry Balance Sport Lotion FPS50+ 180ml</c:v>
                </c:pt>
                <c:pt idx="54">
                  <c:v>Banana Boat Aqua Protect Sport Spray FPS50+ 170g</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279745748951913E-2</c:v>
                </c:pt>
                <c:pt idx="1">
                  <c:v>5.7330186046269632E-2</c:v>
                </c:pt>
                <c:pt idx="2">
                  <c:v>5.0906822369047866E-2</c:v>
                </c:pt>
                <c:pt idx="3">
                  <c:v>4.5215098983439617E-2</c:v>
                </c:pt>
                <c:pt idx="4">
                  <c:v>4.3320292450544647E-2</c:v>
                </c:pt>
                <c:pt idx="5">
                  <c:v>4.3299940262499281E-2</c:v>
                </c:pt>
                <c:pt idx="6">
                  <c:v>3.5445420119642246E-2</c:v>
                </c:pt>
                <c:pt idx="7">
                  <c:v>3.0788154377908127E-2</c:v>
                </c:pt>
                <c:pt idx="8">
                  <c:v>2.7837592247600716E-2</c:v>
                </c:pt>
                <c:pt idx="9">
                  <c:v>2.7038394116647643E-2</c:v>
                </c:pt>
                <c:pt idx="10">
                  <c:v>2.2604359134739418E-2</c:v>
                </c:pt>
                <c:pt idx="11">
                  <c:v>2.2502086870494972E-2</c:v>
                </c:pt>
                <c:pt idx="12">
                  <c:v>2.0249018203589892E-2</c:v>
                </c:pt>
                <c:pt idx="13">
                  <c:v>1.9244945763502174E-2</c:v>
                </c:pt>
                <c:pt idx="14">
                  <c:v>1.7245093285664304E-2</c:v>
                </c:pt>
                <c:pt idx="15">
                  <c:v>1.720739446513277E-2</c:v>
                </c:pt>
                <c:pt idx="16">
                  <c:v>1.7073598876736491E-2</c:v>
                </c:pt>
                <c:pt idx="17">
                  <c:v>1.5275553594789644E-2</c:v>
                </c:pt>
                <c:pt idx="18">
                  <c:v>1.4740981171594385E-2</c:v>
                </c:pt>
                <c:pt idx="19">
                  <c:v>1.4624040545895518E-2</c:v>
                </c:pt>
                <c:pt idx="20">
                  <c:v>1.4021768440744884E-2</c:v>
                </c:pt>
                <c:pt idx="21">
                  <c:v>1.3440277690623356E-2</c:v>
                </c:pt>
                <c:pt idx="22">
                  <c:v>1.2420658702863531E-2</c:v>
                </c:pt>
                <c:pt idx="23">
                  <c:v>1.1985505050102763E-2</c:v>
                </c:pt>
                <c:pt idx="24">
                  <c:v>1.1934742573578169E-2</c:v>
                </c:pt>
                <c:pt idx="25">
                  <c:v>1.1859054772739561E-2</c:v>
                </c:pt>
                <c:pt idx="26">
                  <c:v>1.1751697181935953E-2</c:v>
                </c:pt>
                <c:pt idx="27">
                  <c:v>1.0830418230169872E-2</c:v>
                </c:pt>
                <c:pt idx="28">
                  <c:v>1.0527232760568373E-2</c:v>
                </c:pt>
                <c:pt idx="29">
                  <c:v>1.0330638677453645E-2</c:v>
                </c:pt>
                <c:pt idx="30">
                  <c:v>9.8701037817581355E-3</c:v>
                </c:pt>
                <c:pt idx="31">
                  <c:v>9.8502427788242936E-3</c:v>
                </c:pt>
                <c:pt idx="32">
                  <c:v>9.7116144622161945E-3</c:v>
                </c:pt>
                <c:pt idx="33">
                  <c:v>9.5845056662039463E-3</c:v>
                </c:pt>
                <c:pt idx="34">
                  <c:v>9.2740183437715895E-3</c:v>
                </c:pt>
                <c:pt idx="35">
                  <c:v>9.2426625879453751E-3</c:v>
                </c:pt>
                <c:pt idx="36">
                  <c:v>9.2252254936215257E-3</c:v>
                </c:pt>
                <c:pt idx="37">
                  <c:v>9.2107685644553464E-3</c:v>
                </c:pt>
                <c:pt idx="38">
                  <c:v>7.5354718150281615E-3</c:v>
                </c:pt>
                <c:pt idx="39">
                  <c:v>7.2190138070775253E-3</c:v>
                </c:pt>
                <c:pt idx="40">
                  <c:v>7.0078156779096335E-3</c:v>
                </c:pt>
                <c:pt idx="41">
                  <c:v>6.9388286615621013E-3</c:v>
                </c:pt>
                <c:pt idx="42">
                  <c:v>6.8145368965287934E-3</c:v>
                </c:pt>
                <c:pt idx="43">
                  <c:v>6.635381666727589E-3</c:v>
                </c:pt>
                <c:pt idx="44">
                  <c:v>6.6323164170590792E-3</c:v>
                </c:pt>
                <c:pt idx="45">
                  <c:v>6.5505596589092779E-3</c:v>
                </c:pt>
                <c:pt idx="46">
                  <c:v>6.4104650578671388E-3</c:v>
                </c:pt>
                <c:pt idx="47">
                  <c:v>6.0602388075183264E-3</c:v>
                </c:pt>
                <c:pt idx="48">
                  <c:v>6.0446643171101983E-3</c:v>
                </c:pt>
                <c:pt idx="49">
                  <c:v>5.540567097499987E-3</c:v>
                </c:pt>
                <c:pt idx="50">
                  <c:v>5.2478670617161364E-3</c:v>
                </c:pt>
                <c:pt idx="51">
                  <c:v>5.1722228293137381E-3</c:v>
                </c:pt>
                <c:pt idx="52">
                  <c:v>4.9986771867869435E-3</c:v>
                </c:pt>
                <c:pt idx="53">
                  <c:v>4.7524848430044939E-3</c:v>
                </c:pt>
                <c:pt idx="54">
                  <c:v>4.7188895512816492E-3</c:v>
                </c:pt>
                <c:pt idx="55">
                  <c:v>4.705122814526559E-3</c:v>
                </c:pt>
                <c:pt idx="56">
                  <c:v>4.5782146955696389E-3</c:v>
                </c:pt>
                <c:pt idx="57">
                  <c:v>4.5353591652840105E-3</c:v>
                </c:pt>
                <c:pt idx="58">
                  <c:v>4.0974150769131773E-3</c:v>
                </c:pt>
                <c:pt idx="59">
                  <c:v>4.0785913555673433E-3</c:v>
                </c:pt>
                <c:pt idx="60">
                  <c:v>3.9463340624189963E-3</c:v>
                </c:pt>
                <c:pt idx="61">
                  <c:v>3.7754865213418596E-3</c:v>
                </c:pt>
                <c:pt idx="62">
                  <c:v>3.6288706681206844E-3</c:v>
                </c:pt>
                <c:pt idx="63">
                  <c:v>3.4300473691577871E-3</c:v>
                </c:pt>
                <c:pt idx="64">
                  <c:v>3.0561008277862956E-3</c:v>
                </c:pt>
                <c:pt idx="65">
                  <c:v>3.0011961146522224E-3</c:v>
                </c:pt>
                <c:pt idx="66">
                  <c:v>2.7686820754162299E-3</c:v>
                </c:pt>
                <c:pt idx="67">
                  <c:v>2.67984917803678E-3</c:v>
                </c:pt>
                <c:pt idx="68">
                  <c:v>1.8576646074715904E-3</c:v>
                </c:pt>
                <c:pt idx="69">
                  <c:v>1.6475155711525755E-3</c:v>
                </c:pt>
                <c:pt idx="70">
                  <c:v>1.6134367926380812E-3</c:v>
                </c:pt>
                <c:pt idx="71">
                  <c:v>1.4815968775138565E-3</c:v>
                </c:pt>
                <c:pt idx="72">
                  <c:v>1.4765463999821431E-3</c:v>
                </c:pt>
                <c:pt idx="73">
                  <c:v>1.2825265251187516E-3</c:v>
                </c:pt>
                <c:pt idx="74">
                  <c:v>1.2242089283641315E-3</c:v>
                </c:pt>
                <c:pt idx="75">
                  <c:v>1.1451106870791381E-3</c:v>
                </c:pt>
                <c:pt idx="76">
                  <c:v>1.1125017629471565E-3</c:v>
                </c:pt>
                <c:pt idx="77">
                  <c:v>1.0789578770601588E-3</c:v>
                </c:pt>
                <c:pt idx="78">
                  <c:v>8.9715100626142812E-4</c:v>
                </c:pt>
                <c:pt idx="79">
                  <c:v>7.1337245027158422E-4</c:v>
                </c:pt>
                <c:pt idx="80">
                  <c:v>6.0828484217909865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0.6036870428094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2.8395130812921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lang="it-IT"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Banana Boat Dry Balance Sport Aerosol FPS50+ 200ml</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3416554248639E-2</c:v>
                </c:pt>
                <c:pt idx="1">
                  <c:v>5.7599605353781121E-2</c:v>
                </c:pt>
                <c:pt idx="2">
                  <c:v>5.0995549222821963E-2</c:v>
                </c:pt>
                <c:pt idx="3">
                  <c:v>4.5291328957231924E-2</c:v>
                </c:pt>
                <c:pt idx="4">
                  <c:v>4.345999150455921E-2</c:v>
                </c:pt>
                <c:pt idx="5">
                  <c:v>4.3428186406853662E-2</c:v>
                </c:pt>
                <c:pt idx="6">
                  <c:v>3.5558705945735569E-2</c:v>
                </c:pt>
                <c:pt idx="7">
                  <c:v>3.1042362243785947E-2</c:v>
                </c:pt>
                <c:pt idx="8">
                  <c:v>2.7920871066470548E-2</c:v>
                </c:pt>
                <c:pt idx="9">
                  <c:v>2.7162261050185554E-2</c:v>
                </c:pt>
                <c:pt idx="10">
                  <c:v>2.2683810116671203E-2</c:v>
                </c:pt>
                <c:pt idx="11">
                  <c:v>2.2599109392061854E-2</c:v>
                </c:pt>
                <c:pt idx="12">
                  <c:v>2.0320925343735068E-2</c:v>
                </c:pt>
                <c:pt idx="13">
                  <c:v>1.9380382827017439E-2</c:v>
                </c:pt>
                <c:pt idx="14">
                  <c:v>1.7277140407953945E-2</c:v>
                </c:pt>
                <c:pt idx="15">
                  <c:v>1.7269601419091375E-2</c:v>
                </c:pt>
                <c:pt idx="16">
                  <c:v>1.7102830823705915E-2</c:v>
                </c:pt>
                <c:pt idx="17">
                  <c:v>1.5296689696083818E-2</c:v>
                </c:pt>
                <c:pt idx="18">
                  <c:v>1.4805156135345823E-2</c:v>
                </c:pt>
                <c:pt idx="19">
                  <c:v>1.4652672212159462E-2</c:v>
                </c:pt>
                <c:pt idx="20">
                  <c:v>1.406178316633642E-2</c:v>
                </c:pt>
                <c:pt idx="21">
                  <c:v>1.3496163224231769E-2</c:v>
                </c:pt>
                <c:pt idx="22">
                  <c:v>1.2450787222343267E-2</c:v>
                </c:pt>
                <c:pt idx="23">
                  <c:v>1.2118309905632762E-2</c:v>
                </c:pt>
                <c:pt idx="24">
                  <c:v>1.2003370643745442E-2</c:v>
                </c:pt>
                <c:pt idx="25">
                  <c:v>1.1980156840995699E-2</c:v>
                </c:pt>
                <c:pt idx="26">
                  <c:v>1.1769712355308354E-2</c:v>
                </c:pt>
                <c:pt idx="27">
                  <c:v>1.0847987543491205E-2</c:v>
                </c:pt>
                <c:pt idx="28">
                  <c:v>1.0552162861004452E-2</c:v>
                </c:pt>
                <c:pt idx="29">
                  <c:v>1.0360050769360182E-2</c:v>
                </c:pt>
                <c:pt idx="30">
                  <c:v>9.8899185894375848E-3</c:v>
                </c:pt>
                <c:pt idx="31">
                  <c:v>9.8746308709132223E-3</c:v>
                </c:pt>
                <c:pt idx="32">
                  <c:v>9.723225520314481E-3</c:v>
                </c:pt>
                <c:pt idx="33">
                  <c:v>9.6000331824610142E-3</c:v>
                </c:pt>
                <c:pt idx="34">
                  <c:v>9.29682314996675E-3</c:v>
                </c:pt>
                <c:pt idx="35">
                  <c:v>9.2549650428826926E-3</c:v>
                </c:pt>
                <c:pt idx="36">
                  <c:v>9.2529058840314093E-3</c:v>
                </c:pt>
                <c:pt idx="37">
                  <c:v>9.2520136655985259E-3</c:v>
                </c:pt>
                <c:pt idx="38">
                  <c:v>7.5594066496302431E-3</c:v>
                </c:pt>
                <c:pt idx="39">
                  <c:v>7.2352055370873223E-3</c:v>
                </c:pt>
                <c:pt idx="40">
                  <c:v>7.032673429537584E-3</c:v>
                </c:pt>
                <c:pt idx="41">
                  <c:v>6.9484546513561953E-3</c:v>
                </c:pt>
                <c:pt idx="42">
                  <c:v>6.8402632391951143E-3</c:v>
                </c:pt>
                <c:pt idx="43">
                  <c:v>6.6517401948756483E-3</c:v>
                </c:pt>
                <c:pt idx="44">
                  <c:v>6.5735375823494351E-3</c:v>
                </c:pt>
                <c:pt idx="45">
                  <c:v>6.4833097732679441E-3</c:v>
                </c:pt>
                <c:pt idx="46">
                  <c:v>6.1160782891833418E-3</c:v>
                </c:pt>
                <c:pt idx="47">
                  <c:v>6.0601531226206753E-3</c:v>
                </c:pt>
                <c:pt idx="48">
                  <c:v>5.562364398290197E-3</c:v>
                </c:pt>
                <c:pt idx="49">
                  <c:v>5.26006111783187E-3</c:v>
                </c:pt>
                <c:pt idx="50">
                  <c:v>5.2187167473699151E-3</c:v>
                </c:pt>
                <c:pt idx="51">
                  <c:v>5.0241126230130551E-3</c:v>
                </c:pt>
                <c:pt idx="52">
                  <c:v>4.808726354956128E-3</c:v>
                </c:pt>
                <c:pt idx="53">
                  <c:v>4.8038861951788065E-3</c:v>
                </c:pt>
                <c:pt idx="54">
                  <c:v>4.7132019099253211E-3</c:v>
                </c:pt>
                <c:pt idx="55">
                  <c:v>4.5922126207776862E-3</c:v>
                </c:pt>
                <c:pt idx="56">
                  <c:v>4.5412598022403798E-3</c:v>
                </c:pt>
                <c:pt idx="57">
                  <c:v>4.1548758295094365E-3</c:v>
                </c:pt>
                <c:pt idx="58">
                  <c:v>4.1104731799656803E-3</c:v>
                </c:pt>
                <c:pt idx="59">
                  <c:v>3.9513687904169205E-3</c:v>
                </c:pt>
                <c:pt idx="60">
                  <c:v>3.784930876342598E-3</c:v>
                </c:pt>
                <c:pt idx="61">
                  <c:v>3.6453783286378109E-3</c:v>
                </c:pt>
                <c:pt idx="62">
                  <c:v>3.4505628347228324E-3</c:v>
                </c:pt>
                <c:pt idx="63">
                  <c:v>3.0805888339081877E-3</c:v>
                </c:pt>
                <c:pt idx="64">
                  <c:v>3.0408001968317286E-3</c:v>
                </c:pt>
                <c:pt idx="65">
                  <c:v>2.9208164750534498E-3</c:v>
                </c:pt>
                <c:pt idx="66">
                  <c:v>2.7883314780490797E-3</c:v>
                </c:pt>
                <c:pt idx="67">
                  <c:v>2.6865052101212659E-3</c:v>
                </c:pt>
                <c:pt idx="68">
                  <c:v>1.8707704110431944E-3</c:v>
                </c:pt>
                <c:pt idx="69">
                  <c:v>1.6533125913672784E-3</c:v>
                </c:pt>
                <c:pt idx="70">
                  <c:v>1.634415818027937E-3</c:v>
                </c:pt>
                <c:pt idx="71">
                  <c:v>1.5036062142032016E-3</c:v>
                </c:pt>
                <c:pt idx="72">
                  <c:v>1.493540625070272E-3</c:v>
                </c:pt>
                <c:pt idx="73">
                  <c:v>1.2945032276814954E-3</c:v>
                </c:pt>
                <c:pt idx="74">
                  <c:v>1.2298061811038777E-3</c:v>
                </c:pt>
                <c:pt idx="75">
                  <c:v>1.1527566049463317E-3</c:v>
                </c:pt>
                <c:pt idx="76">
                  <c:v>1.1226450321129044E-3</c:v>
                </c:pt>
                <c:pt idx="77">
                  <c:v>1.0845485913792145E-3</c:v>
                </c:pt>
                <c:pt idx="78">
                  <c:v>9.1672121526301998E-4</c:v>
                </c:pt>
                <c:pt idx="79">
                  <c:v>7.1700191836627603E-4</c:v>
                </c:pt>
                <c:pt idx="80">
                  <c:v>6.2002919139641371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7.2441495258908986E-2</c:v>
                </c:pt>
                <c:pt idx="1">
                  <c:v>6.2789287520173723E-2</c:v>
                </c:pt>
                <c:pt idx="2">
                  <c:v>5.6643807880514249E-2</c:v>
                </c:pt>
                <c:pt idx="3">
                  <c:v>5.3927246749139041E-2</c:v>
                </c:pt>
                <c:pt idx="4">
                  <c:v>4.338257247325799E-2</c:v>
                </c:pt>
                <c:pt idx="5">
                  <c:v>3.7605827154158583E-2</c:v>
                </c:pt>
                <c:pt idx="6">
                  <c:v>3.2605532137742262E-2</c:v>
                </c:pt>
                <c:pt idx="7">
                  <c:v>3.0284138650425129E-2</c:v>
                </c:pt>
                <c:pt idx="8">
                  <c:v>3.0051898510502634E-2</c:v>
                </c:pt>
                <c:pt idx="9">
                  <c:v>2.8070805129154282E-2</c:v>
                </c:pt>
                <c:pt idx="10">
                  <c:v>2.6847338685133407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7ECAC4"/>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lang="en-US"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Hawaiian Tropic Ozono Lotion FPS50+ 30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Caribbean Beach Kids Cream FPS50+ 250g</c:v>
                </c:pt>
                <c:pt idx="38">
                  <c:v>Hawaiian Tropic Ozono Lotion FPS50+ 120ml</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3843362357862337E-2</c:v>
                </c:pt>
                <c:pt idx="1">
                  <c:v>5.7307294250152976E-2</c:v>
                </c:pt>
                <c:pt idx="2">
                  <c:v>5.0566428764383352E-2</c:v>
                </c:pt>
                <c:pt idx="3">
                  <c:v>4.5081866746129504E-2</c:v>
                </c:pt>
                <c:pt idx="4">
                  <c:v>4.272067179358166E-2</c:v>
                </c:pt>
                <c:pt idx="5">
                  <c:v>4.2605313468364055E-2</c:v>
                </c:pt>
                <c:pt idx="6">
                  <c:v>3.4832927857257986E-2</c:v>
                </c:pt>
                <c:pt idx="7">
                  <c:v>3.0939215037911343E-2</c:v>
                </c:pt>
                <c:pt idx="8">
                  <c:v>2.7632510860933886E-2</c:v>
                </c:pt>
                <c:pt idx="9">
                  <c:v>2.6910445565475328E-2</c:v>
                </c:pt>
                <c:pt idx="10">
                  <c:v>2.2499534785646192E-2</c:v>
                </c:pt>
                <c:pt idx="11">
                  <c:v>2.2459224984974425E-2</c:v>
                </c:pt>
                <c:pt idx="12">
                  <c:v>2.0200444346063214E-2</c:v>
                </c:pt>
                <c:pt idx="13">
                  <c:v>1.9297113833026427E-2</c:v>
                </c:pt>
                <c:pt idx="14">
                  <c:v>1.7239426522223242E-2</c:v>
                </c:pt>
                <c:pt idx="15">
                  <c:v>1.7052940516735025E-2</c:v>
                </c:pt>
                <c:pt idx="16">
                  <c:v>1.6999474085822943E-2</c:v>
                </c:pt>
                <c:pt idx="17">
                  <c:v>1.5199921496095821E-2</c:v>
                </c:pt>
                <c:pt idx="18">
                  <c:v>1.4725115685420715E-2</c:v>
                </c:pt>
                <c:pt idx="19">
                  <c:v>1.4468774511018676E-2</c:v>
                </c:pt>
                <c:pt idx="20">
                  <c:v>1.3899020672260107E-2</c:v>
                </c:pt>
                <c:pt idx="21">
                  <c:v>1.3417527523480478E-2</c:v>
                </c:pt>
                <c:pt idx="22">
                  <c:v>1.2377115939788319E-2</c:v>
                </c:pt>
                <c:pt idx="23">
                  <c:v>1.2129982791799589E-2</c:v>
                </c:pt>
                <c:pt idx="24">
                  <c:v>1.1963631765519584E-2</c:v>
                </c:pt>
                <c:pt idx="25">
                  <c:v>1.1932812569894166E-2</c:v>
                </c:pt>
                <c:pt idx="26">
                  <c:v>1.1711869575189998E-2</c:v>
                </c:pt>
                <c:pt idx="27">
                  <c:v>1.0801167833586318E-2</c:v>
                </c:pt>
                <c:pt idx="28">
                  <c:v>1.0740100112679583E-2</c:v>
                </c:pt>
                <c:pt idx="29">
                  <c:v>1.047888600105833E-2</c:v>
                </c:pt>
                <c:pt idx="30">
                  <c:v>1.0347080984241509E-2</c:v>
                </c:pt>
                <c:pt idx="31">
                  <c:v>9.8515082873021804E-3</c:v>
                </c:pt>
                <c:pt idx="32">
                  <c:v>9.8075488828958841E-3</c:v>
                </c:pt>
                <c:pt idx="33">
                  <c:v>9.6730778232380771E-3</c:v>
                </c:pt>
                <c:pt idx="34">
                  <c:v>9.4105545396553809E-3</c:v>
                </c:pt>
                <c:pt idx="35">
                  <c:v>9.2458918077018004E-3</c:v>
                </c:pt>
                <c:pt idx="36">
                  <c:v>9.1991131658186003E-3</c:v>
                </c:pt>
                <c:pt idx="37">
                  <c:v>9.1920574137083714E-3</c:v>
                </c:pt>
                <c:pt idx="38">
                  <c:v>9.1708562385104837E-3</c:v>
                </c:pt>
                <c:pt idx="39">
                  <c:v>7.4953833199175755E-3</c:v>
                </c:pt>
                <c:pt idx="40">
                  <c:v>7.1873404875603432E-3</c:v>
                </c:pt>
                <c:pt idx="41">
                  <c:v>6.9903925517730116E-3</c:v>
                </c:pt>
                <c:pt idx="42">
                  <c:v>6.9345869235413323E-3</c:v>
                </c:pt>
                <c:pt idx="43">
                  <c:v>6.8323113344280857E-3</c:v>
                </c:pt>
                <c:pt idx="44">
                  <c:v>6.5962338213213225E-3</c:v>
                </c:pt>
                <c:pt idx="45">
                  <c:v>6.547422965411602E-3</c:v>
                </c:pt>
                <c:pt idx="46">
                  <c:v>6.4728089358549032E-3</c:v>
                </c:pt>
                <c:pt idx="47">
                  <c:v>6.0848639301297157E-3</c:v>
                </c:pt>
                <c:pt idx="48">
                  <c:v>6.0012737285524542E-3</c:v>
                </c:pt>
                <c:pt idx="49">
                  <c:v>5.5364197291669325E-3</c:v>
                </c:pt>
                <c:pt idx="50">
                  <c:v>5.1945753000673788E-3</c:v>
                </c:pt>
                <c:pt idx="51">
                  <c:v>5.1758767102001958E-3</c:v>
                </c:pt>
                <c:pt idx="52">
                  <c:v>4.9811858353435851E-3</c:v>
                </c:pt>
                <c:pt idx="53">
                  <c:v>4.8034672405054078E-3</c:v>
                </c:pt>
                <c:pt idx="54">
                  <c:v>4.7575483082759919E-3</c:v>
                </c:pt>
                <c:pt idx="55">
                  <c:v>4.6937978552513276E-3</c:v>
                </c:pt>
                <c:pt idx="56">
                  <c:v>4.5524995162523558E-3</c:v>
                </c:pt>
                <c:pt idx="57">
                  <c:v>4.5222927380685236E-3</c:v>
                </c:pt>
                <c:pt idx="58">
                  <c:v>4.1358457422071082E-3</c:v>
                </c:pt>
                <c:pt idx="59">
                  <c:v>4.0986003444839882E-3</c:v>
                </c:pt>
                <c:pt idx="60">
                  <c:v>3.9278246038185879E-3</c:v>
                </c:pt>
                <c:pt idx="61">
                  <c:v>3.7785224662344606E-3</c:v>
                </c:pt>
                <c:pt idx="62">
                  <c:v>3.6053221282611072E-3</c:v>
                </c:pt>
                <c:pt idx="63">
                  <c:v>3.4051733918308968E-3</c:v>
                </c:pt>
                <c:pt idx="64">
                  <c:v>3.056531774871312E-3</c:v>
                </c:pt>
                <c:pt idx="65">
                  <c:v>3.0395295321188325E-3</c:v>
                </c:pt>
                <c:pt idx="66">
                  <c:v>2.7782853787234802E-3</c:v>
                </c:pt>
                <c:pt idx="67">
                  <c:v>2.6720954093859273E-3</c:v>
                </c:pt>
                <c:pt idx="68">
                  <c:v>1.8576364459236641E-3</c:v>
                </c:pt>
                <c:pt idx="69">
                  <c:v>1.6413406480363731E-3</c:v>
                </c:pt>
                <c:pt idx="70">
                  <c:v>1.6267127470977727E-3</c:v>
                </c:pt>
                <c:pt idx="71">
                  <c:v>1.5024396103144892E-3</c:v>
                </c:pt>
                <c:pt idx="72">
                  <c:v>1.4817168164110938E-3</c:v>
                </c:pt>
                <c:pt idx="73">
                  <c:v>1.2849405335046246E-3</c:v>
                </c:pt>
                <c:pt idx="74">
                  <c:v>1.2209153855961112E-3</c:v>
                </c:pt>
                <c:pt idx="75">
                  <c:v>1.1477085936680116E-3</c:v>
                </c:pt>
                <c:pt idx="76">
                  <c:v>1.1204213871146961E-3</c:v>
                </c:pt>
                <c:pt idx="77">
                  <c:v>1.0828018068242489E-3</c:v>
                </c:pt>
                <c:pt idx="78">
                  <c:v>9.1589938676547801E-4</c:v>
                </c:pt>
                <c:pt idx="79">
                  <c:v>7.1371243384243141E-4</c:v>
                </c:pt>
                <c:pt idx="80">
                  <c:v>6.1393080393551749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42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006C6D"/>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7"/>
              <c:tx>
                <c:rich>
                  <a:bodyPr/>
                  <a:lstStyle/>
                  <a:p>
                    <a:r>
                      <a:rPr lang="en-US" sz="500">
                        <a:solidFill>
                          <a:srgbClr val="006C6D"/>
                        </a:solidFill>
                      </a:rPr>
                      <a:t>Hawaiian Tropic Ozono Stick FPS50+ 42g</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Sheer Touch Lotion FPS50+ 240ml</c:v>
                </c:pt>
                <c:pt idx="5">
                  <c:v>Hawaiian Tropic Ozono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Hawaiian Tropic Ozono Stick FPS50+ 42g</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35743112547474E-2</c:v>
                </c:pt>
                <c:pt idx="1">
                  <c:v>5.7663753971391347E-2</c:v>
                </c:pt>
                <c:pt idx="2">
                  <c:v>5.0987262491549806E-2</c:v>
                </c:pt>
                <c:pt idx="3">
                  <c:v>4.5232569089806822E-2</c:v>
                </c:pt>
                <c:pt idx="4">
                  <c:v>4.3400275030610141E-2</c:v>
                </c:pt>
                <c:pt idx="5">
                  <c:v>4.3355623076096861E-2</c:v>
                </c:pt>
                <c:pt idx="6">
                  <c:v>3.553730530134732E-2</c:v>
                </c:pt>
                <c:pt idx="7">
                  <c:v>3.1132829702145898E-2</c:v>
                </c:pt>
                <c:pt idx="8">
                  <c:v>2.7921191041084106E-2</c:v>
                </c:pt>
                <c:pt idx="9">
                  <c:v>2.7185967554051359E-2</c:v>
                </c:pt>
                <c:pt idx="10">
                  <c:v>2.2648468318646666E-2</c:v>
                </c:pt>
                <c:pt idx="11">
                  <c:v>2.2599151113001762E-2</c:v>
                </c:pt>
                <c:pt idx="12">
                  <c:v>2.0280584793730037E-2</c:v>
                </c:pt>
                <c:pt idx="13">
                  <c:v>1.9412037877721087E-2</c:v>
                </c:pt>
                <c:pt idx="14">
                  <c:v>1.7262853679924771E-2</c:v>
                </c:pt>
                <c:pt idx="15">
                  <c:v>1.7230354485753795E-2</c:v>
                </c:pt>
                <c:pt idx="16">
                  <c:v>1.7105281610523087E-2</c:v>
                </c:pt>
                <c:pt idx="17">
                  <c:v>1.5240150141600463E-2</c:v>
                </c:pt>
                <c:pt idx="18">
                  <c:v>1.478541551379676E-2</c:v>
                </c:pt>
                <c:pt idx="19">
                  <c:v>1.4549733486302474E-2</c:v>
                </c:pt>
                <c:pt idx="20">
                  <c:v>1.3995550985549526E-2</c:v>
                </c:pt>
                <c:pt idx="21">
                  <c:v>1.3404845070628831E-2</c:v>
                </c:pt>
                <c:pt idx="22">
                  <c:v>1.2422506418097704E-2</c:v>
                </c:pt>
                <c:pt idx="23">
                  <c:v>1.2186594433871101E-2</c:v>
                </c:pt>
                <c:pt idx="24">
                  <c:v>1.1977770113531443E-2</c:v>
                </c:pt>
                <c:pt idx="25">
                  <c:v>1.1971719750642687E-2</c:v>
                </c:pt>
                <c:pt idx="26">
                  <c:v>1.1725089199379641E-2</c:v>
                </c:pt>
                <c:pt idx="27">
                  <c:v>1.0817393018723866E-2</c:v>
                </c:pt>
                <c:pt idx="28">
                  <c:v>1.0510706049858074E-2</c:v>
                </c:pt>
                <c:pt idx="29">
                  <c:v>1.0311817878258649E-2</c:v>
                </c:pt>
                <c:pt idx="30">
                  <c:v>9.8762310760219484E-3</c:v>
                </c:pt>
                <c:pt idx="31">
                  <c:v>9.8389074799268665E-3</c:v>
                </c:pt>
                <c:pt idx="32">
                  <c:v>9.7049549840721484E-3</c:v>
                </c:pt>
                <c:pt idx="33">
                  <c:v>9.5414637164465046E-3</c:v>
                </c:pt>
                <c:pt idx="34">
                  <c:v>9.2470638266190022E-3</c:v>
                </c:pt>
                <c:pt idx="35">
                  <c:v>9.2352163518402645E-3</c:v>
                </c:pt>
                <c:pt idx="36">
                  <c:v>9.2143123917945279E-3</c:v>
                </c:pt>
                <c:pt idx="37">
                  <c:v>9.2052960018120383E-3</c:v>
                </c:pt>
                <c:pt idx="38">
                  <c:v>7.5318348249651971E-3</c:v>
                </c:pt>
                <c:pt idx="39">
                  <c:v>7.1760605289997274E-3</c:v>
                </c:pt>
                <c:pt idx="40">
                  <c:v>6.9874612098451885E-3</c:v>
                </c:pt>
                <c:pt idx="41">
                  <c:v>6.9179062832313652E-3</c:v>
                </c:pt>
                <c:pt idx="42">
                  <c:v>6.8329267282794858E-3</c:v>
                </c:pt>
                <c:pt idx="43">
                  <c:v>6.6379067026250023E-3</c:v>
                </c:pt>
                <c:pt idx="44">
                  <c:v>6.5542690541285425E-3</c:v>
                </c:pt>
                <c:pt idx="45">
                  <c:v>6.4918684242862576E-3</c:v>
                </c:pt>
                <c:pt idx="46">
                  <c:v>6.1267331086280446E-3</c:v>
                </c:pt>
                <c:pt idx="47">
                  <c:v>6.0262997806833311E-3</c:v>
                </c:pt>
                <c:pt idx="48">
                  <c:v>5.5461321334206214E-3</c:v>
                </c:pt>
                <c:pt idx="49">
                  <c:v>5.2424885194694206E-3</c:v>
                </c:pt>
                <c:pt idx="50">
                  <c:v>5.183289949334818E-3</c:v>
                </c:pt>
                <c:pt idx="51">
                  <c:v>5.0052889666752781E-3</c:v>
                </c:pt>
                <c:pt idx="52">
                  <c:v>4.8299027992064142E-3</c:v>
                </c:pt>
                <c:pt idx="53">
                  <c:v>4.8067653803049431E-3</c:v>
                </c:pt>
                <c:pt idx="54">
                  <c:v>4.7052055291209802E-3</c:v>
                </c:pt>
                <c:pt idx="55">
                  <c:v>4.5675942333723938E-3</c:v>
                </c:pt>
                <c:pt idx="56">
                  <c:v>4.5159947695069076E-3</c:v>
                </c:pt>
                <c:pt idx="57">
                  <c:v>4.3398961905934961E-3</c:v>
                </c:pt>
                <c:pt idx="58">
                  <c:v>4.1606781959740062E-3</c:v>
                </c:pt>
                <c:pt idx="59">
                  <c:v>4.0955205255886404E-3</c:v>
                </c:pt>
                <c:pt idx="60">
                  <c:v>3.920806218134819E-3</c:v>
                </c:pt>
                <c:pt idx="61">
                  <c:v>3.7818132577061409E-3</c:v>
                </c:pt>
                <c:pt idx="62">
                  <c:v>3.636234332173049E-3</c:v>
                </c:pt>
                <c:pt idx="63">
                  <c:v>3.4398712011144881E-3</c:v>
                </c:pt>
                <c:pt idx="64">
                  <c:v>3.0842826155816935E-3</c:v>
                </c:pt>
                <c:pt idx="65">
                  <c:v>3.0491692851203904E-3</c:v>
                </c:pt>
                <c:pt idx="66">
                  <c:v>2.7837930597970793E-3</c:v>
                </c:pt>
                <c:pt idx="67">
                  <c:v>2.6794675656485892E-3</c:v>
                </c:pt>
                <c:pt idx="68">
                  <c:v>1.8520646271086251E-3</c:v>
                </c:pt>
                <c:pt idx="69">
                  <c:v>1.6383628252864184E-3</c:v>
                </c:pt>
                <c:pt idx="70">
                  <c:v>1.6259220398413634E-3</c:v>
                </c:pt>
                <c:pt idx="71">
                  <c:v>1.5066873702193186E-3</c:v>
                </c:pt>
                <c:pt idx="72">
                  <c:v>1.4681261039431904E-3</c:v>
                </c:pt>
                <c:pt idx="73">
                  <c:v>1.2869872078651973E-3</c:v>
                </c:pt>
                <c:pt idx="74">
                  <c:v>1.2260120052348241E-3</c:v>
                </c:pt>
                <c:pt idx="75">
                  <c:v>1.1514009118963604E-3</c:v>
                </c:pt>
                <c:pt idx="76">
                  <c:v>1.1140231231571316E-3</c:v>
                </c:pt>
                <c:pt idx="77">
                  <c:v>1.0756007187657946E-3</c:v>
                </c:pt>
                <c:pt idx="78">
                  <c:v>9.1576196584167028E-4</c:v>
                </c:pt>
                <c:pt idx="79">
                  <c:v>7.0900105048485426E-4</c:v>
                </c:pt>
                <c:pt idx="80">
                  <c:v>6.18598538132303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006C6D"/>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7ECAC4"/>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r>
                      <a:rPr lang="en-US"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Hawaiian Tropic Ozono Lotion FPS50+ 120ml</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Ozono Ultra-Light FPS50+ 14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392900485689213E-2</c:v>
                </c:pt>
                <c:pt idx="1">
                  <c:v>5.7616920101070619E-2</c:v>
                </c:pt>
                <c:pt idx="2">
                  <c:v>5.0961128952451716E-2</c:v>
                </c:pt>
                <c:pt idx="3">
                  <c:v>4.522127364913902E-2</c:v>
                </c:pt>
                <c:pt idx="4">
                  <c:v>4.344415398237237E-2</c:v>
                </c:pt>
                <c:pt idx="5">
                  <c:v>4.3392305604178893E-2</c:v>
                </c:pt>
                <c:pt idx="6">
                  <c:v>3.5542108115270428E-2</c:v>
                </c:pt>
                <c:pt idx="7">
                  <c:v>3.1122660837529615E-2</c:v>
                </c:pt>
                <c:pt idx="8">
                  <c:v>2.7896302649413982E-2</c:v>
                </c:pt>
                <c:pt idx="9">
                  <c:v>2.7169479716236993E-2</c:v>
                </c:pt>
                <c:pt idx="10">
                  <c:v>2.2650377942970364E-2</c:v>
                </c:pt>
                <c:pt idx="11">
                  <c:v>2.2618232308510226E-2</c:v>
                </c:pt>
                <c:pt idx="12">
                  <c:v>2.0311764122192124E-2</c:v>
                </c:pt>
                <c:pt idx="13">
                  <c:v>1.9398932153394065E-2</c:v>
                </c:pt>
                <c:pt idx="14">
                  <c:v>1.7261432627402488E-2</c:v>
                </c:pt>
                <c:pt idx="15">
                  <c:v>1.7255236330729975E-2</c:v>
                </c:pt>
                <c:pt idx="16">
                  <c:v>1.7107694952352502E-2</c:v>
                </c:pt>
                <c:pt idx="17">
                  <c:v>1.5281227985969065E-2</c:v>
                </c:pt>
                <c:pt idx="18">
                  <c:v>1.480370457474907E-2</c:v>
                </c:pt>
                <c:pt idx="19">
                  <c:v>1.4632286045608322E-2</c:v>
                </c:pt>
                <c:pt idx="20">
                  <c:v>1.4025201767479465E-2</c:v>
                </c:pt>
                <c:pt idx="21">
                  <c:v>1.3484517921454813E-2</c:v>
                </c:pt>
                <c:pt idx="22">
                  <c:v>1.2448410697697743E-2</c:v>
                </c:pt>
                <c:pt idx="23">
                  <c:v>1.2196664236544511E-2</c:v>
                </c:pt>
                <c:pt idx="24">
                  <c:v>1.1995982613347972E-2</c:v>
                </c:pt>
                <c:pt idx="25">
                  <c:v>1.1985399685788154E-2</c:v>
                </c:pt>
                <c:pt idx="26">
                  <c:v>1.1760743753662619E-2</c:v>
                </c:pt>
                <c:pt idx="27">
                  <c:v>1.084411911460108E-2</c:v>
                </c:pt>
                <c:pt idx="28">
                  <c:v>1.0542515041620504E-2</c:v>
                </c:pt>
                <c:pt idx="29">
                  <c:v>1.0343599165796875E-2</c:v>
                </c:pt>
                <c:pt idx="30">
                  <c:v>9.8805935974987501E-3</c:v>
                </c:pt>
                <c:pt idx="31">
                  <c:v>9.8787205689493604E-3</c:v>
                </c:pt>
                <c:pt idx="32">
                  <c:v>9.7081264376591703E-3</c:v>
                </c:pt>
                <c:pt idx="33">
                  <c:v>9.584516257187042E-3</c:v>
                </c:pt>
                <c:pt idx="34">
                  <c:v>9.2735903723986761E-3</c:v>
                </c:pt>
                <c:pt idx="35">
                  <c:v>9.2469499763924365E-3</c:v>
                </c:pt>
                <c:pt idx="36">
                  <c:v>9.2371190583632242E-3</c:v>
                </c:pt>
                <c:pt idx="37">
                  <c:v>9.2333073831181653E-3</c:v>
                </c:pt>
                <c:pt idx="38">
                  <c:v>7.5604351286438654E-3</c:v>
                </c:pt>
                <c:pt idx="39">
                  <c:v>7.2245433953886905E-3</c:v>
                </c:pt>
                <c:pt idx="40">
                  <c:v>7.0190898679587388E-3</c:v>
                </c:pt>
                <c:pt idx="41">
                  <c:v>6.9452187626839112E-3</c:v>
                </c:pt>
                <c:pt idx="42">
                  <c:v>6.8301319443405143E-3</c:v>
                </c:pt>
                <c:pt idx="43">
                  <c:v>6.6484225957370042E-3</c:v>
                </c:pt>
                <c:pt idx="44">
                  <c:v>6.5687434049204107E-3</c:v>
                </c:pt>
                <c:pt idx="45">
                  <c:v>6.5026655759460386E-3</c:v>
                </c:pt>
                <c:pt idx="46">
                  <c:v>6.1312496039164915E-3</c:v>
                </c:pt>
                <c:pt idx="47">
                  <c:v>6.05756865715698E-3</c:v>
                </c:pt>
                <c:pt idx="48">
                  <c:v>5.5601484095296689E-3</c:v>
                </c:pt>
                <c:pt idx="49">
                  <c:v>5.2595572416181072E-3</c:v>
                </c:pt>
                <c:pt idx="50">
                  <c:v>5.2273487567710535E-3</c:v>
                </c:pt>
                <c:pt idx="51">
                  <c:v>5.0258565561736544E-3</c:v>
                </c:pt>
                <c:pt idx="52">
                  <c:v>4.8346356154160578E-3</c:v>
                </c:pt>
                <c:pt idx="53">
                  <c:v>4.8034420266788386E-3</c:v>
                </c:pt>
                <c:pt idx="54">
                  <c:v>4.7135351001117501E-3</c:v>
                </c:pt>
                <c:pt idx="55">
                  <c:v>4.5936325781209004E-3</c:v>
                </c:pt>
                <c:pt idx="56">
                  <c:v>4.5294656831076441E-3</c:v>
                </c:pt>
                <c:pt idx="57">
                  <c:v>4.1623558522291331E-3</c:v>
                </c:pt>
                <c:pt idx="58">
                  <c:v>4.103479157299284E-3</c:v>
                </c:pt>
                <c:pt idx="59">
                  <c:v>3.940009345191924E-3</c:v>
                </c:pt>
                <c:pt idx="60">
                  <c:v>3.7849048020501194E-3</c:v>
                </c:pt>
                <c:pt idx="61">
                  <c:v>3.647545109322455E-3</c:v>
                </c:pt>
                <c:pt idx="62">
                  <c:v>3.4477408681662419E-3</c:v>
                </c:pt>
                <c:pt idx="63">
                  <c:v>3.2089759598830981E-3</c:v>
                </c:pt>
                <c:pt idx="64">
                  <c:v>3.0869939208495699E-3</c:v>
                </c:pt>
                <c:pt idx="65">
                  <c:v>3.0513402580822687E-3</c:v>
                </c:pt>
                <c:pt idx="66">
                  <c:v>2.7918521172350967E-3</c:v>
                </c:pt>
                <c:pt idx="67">
                  <c:v>2.6896373433258226E-3</c:v>
                </c:pt>
                <c:pt idx="68">
                  <c:v>1.8695282519430828E-3</c:v>
                </c:pt>
                <c:pt idx="69">
                  <c:v>1.653256685502161E-3</c:v>
                </c:pt>
                <c:pt idx="70">
                  <c:v>1.6353578624419983E-3</c:v>
                </c:pt>
                <c:pt idx="71">
                  <c:v>1.5052136248903294E-3</c:v>
                </c:pt>
                <c:pt idx="72">
                  <c:v>1.4957537984645517E-3</c:v>
                </c:pt>
                <c:pt idx="73">
                  <c:v>1.293558816581779E-3</c:v>
                </c:pt>
                <c:pt idx="74">
                  <c:v>1.2304374061622096E-3</c:v>
                </c:pt>
                <c:pt idx="75">
                  <c:v>1.1534699914843901E-3</c:v>
                </c:pt>
                <c:pt idx="76">
                  <c:v>1.1230144919486219E-3</c:v>
                </c:pt>
                <c:pt idx="77">
                  <c:v>1.0853285925882259E-3</c:v>
                </c:pt>
                <c:pt idx="78">
                  <c:v>9.1969760169628191E-4</c:v>
                </c:pt>
                <c:pt idx="79">
                  <c:v>7.1602128500950206E-4</c:v>
                </c:pt>
                <c:pt idx="80">
                  <c:v>6.1863516664034278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7ECAC4"/>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lang="en-US"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Hawaiian Tropic Ozono Lotion FPS50+ 30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Caribbean Beach Kids Cream FPS50+ 250g</c:v>
                </c:pt>
                <c:pt idx="38">
                  <c:v>Hawaiian Tropic Ozono Lotion FPS50+ 120ml</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3843362357862337E-2</c:v>
                </c:pt>
                <c:pt idx="1">
                  <c:v>5.7307294250152976E-2</c:v>
                </c:pt>
                <c:pt idx="2">
                  <c:v>5.0566428764383352E-2</c:v>
                </c:pt>
                <c:pt idx="3">
                  <c:v>4.5081866746129504E-2</c:v>
                </c:pt>
                <c:pt idx="4">
                  <c:v>4.272067179358166E-2</c:v>
                </c:pt>
                <c:pt idx="5">
                  <c:v>4.2605313468364055E-2</c:v>
                </c:pt>
                <c:pt idx="6">
                  <c:v>3.4832927857257986E-2</c:v>
                </c:pt>
                <c:pt idx="7">
                  <c:v>3.0939215037911343E-2</c:v>
                </c:pt>
                <c:pt idx="8">
                  <c:v>2.7632510860933886E-2</c:v>
                </c:pt>
                <c:pt idx="9">
                  <c:v>2.6910445565475328E-2</c:v>
                </c:pt>
                <c:pt idx="10">
                  <c:v>2.2499534785646192E-2</c:v>
                </c:pt>
                <c:pt idx="11">
                  <c:v>2.2459224984974425E-2</c:v>
                </c:pt>
                <c:pt idx="12">
                  <c:v>2.0200444346063214E-2</c:v>
                </c:pt>
                <c:pt idx="13">
                  <c:v>1.9297113833026427E-2</c:v>
                </c:pt>
                <c:pt idx="14">
                  <c:v>1.7239426522223242E-2</c:v>
                </c:pt>
                <c:pt idx="15">
                  <c:v>1.7052940516735025E-2</c:v>
                </c:pt>
                <c:pt idx="16">
                  <c:v>1.6999474085822943E-2</c:v>
                </c:pt>
                <c:pt idx="17">
                  <c:v>1.5199921496095821E-2</c:v>
                </c:pt>
                <c:pt idx="18">
                  <c:v>1.4725115685420715E-2</c:v>
                </c:pt>
                <c:pt idx="19">
                  <c:v>1.4468774511018676E-2</c:v>
                </c:pt>
                <c:pt idx="20">
                  <c:v>1.3899020672260107E-2</c:v>
                </c:pt>
                <c:pt idx="21">
                  <c:v>1.3417527523480478E-2</c:v>
                </c:pt>
                <c:pt idx="22">
                  <c:v>1.2377115939788319E-2</c:v>
                </c:pt>
                <c:pt idx="23">
                  <c:v>1.2129982791799589E-2</c:v>
                </c:pt>
                <c:pt idx="24">
                  <c:v>1.1963631765519584E-2</c:v>
                </c:pt>
                <c:pt idx="25">
                  <c:v>1.1932812569894166E-2</c:v>
                </c:pt>
                <c:pt idx="26">
                  <c:v>1.1711869575189998E-2</c:v>
                </c:pt>
                <c:pt idx="27">
                  <c:v>1.0801167833586318E-2</c:v>
                </c:pt>
                <c:pt idx="28">
                  <c:v>1.0740100112679583E-2</c:v>
                </c:pt>
                <c:pt idx="29">
                  <c:v>1.047888600105833E-2</c:v>
                </c:pt>
                <c:pt idx="30">
                  <c:v>1.0347080984241509E-2</c:v>
                </c:pt>
                <c:pt idx="31">
                  <c:v>9.8515082873021804E-3</c:v>
                </c:pt>
                <c:pt idx="32">
                  <c:v>9.8075488828958841E-3</c:v>
                </c:pt>
                <c:pt idx="33">
                  <c:v>9.6730778232380771E-3</c:v>
                </c:pt>
                <c:pt idx="34">
                  <c:v>9.4105545396553809E-3</c:v>
                </c:pt>
                <c:pt idx="35">
                  <c:v>9.2458918077018004E-3</c:v>
                </c:pt>
                <c:pt idx="36">
                  <c:v>9.1991131658186003E-3</c:v>
                </c:pt>
                <c:pt idx="37">
                  <c:v>9.1920574137083714E-3</c:v>
                </c:pt>
                <c:pt idx="38">
                  <c:v>9.1708562385104837E-3</c:v>
                </c:pt>
                <c:pt idx="39">
                  <c:v>7.4953833199175755E-3</c:v>
                </c:pt>
                <c:pt idx="40">
                  <c:v>7.1873404875603432E-3</c:v>
                </c:pt>
                <c:pt idx="41">
                  <c:v>6.9903925517730116E-3</c:v>
                </c:pt>
                <c:pt idx="42">
                  <c:v>6.9345869235413323E-3</c:v>
                </c:pt>
                <c:pt idx="43">
                  <c:v>6.8323113344280857E-3</c:v>
                </c:pt>
                <c:pt idx="44">
                  <c:v>6.5962338213213225E-3</c:v>
                </c:pt>
                <c:pt idx="45">
                  <c:v>6.547422965411602E-3</c:v>
                </c:pt>
                <c:pt idx="46">
                  <c:v>6.4728089358549032E-3</c:v>
                </c:pt>
                <c:pt idx="47">
                  <c:v>6.0848639301297157E-3</c:v>
                </c:pt>
                <c:pt idx="48">
                  <c:v>6.0012737285524542E-3</c:v>
                </c:pt>
                <c:pt idx="49">
                  <c:v>5.5364197291669325E-3</c:v>
                </c:pt>
                <c:pt idx="50">
                  <c:v>5.1945753000673788E-3</c:v>
                </c:pt>
                <c:pt idx="51">
                  <c:v>5.1758767102001958E-3</c:v>
                </c:pt>
                <c:pt idx="52">
                  <c:v>4.9811858353435851E-3</c:v>
                </c:pt>
                <c:pt idx="53">
                  <c:v>4.8034672405054078E-3</c:v>
                </c:pt>
                <c:pt idx="54">
                  <c:v>4.7575483082759919E-3</c:v>
                </c:pt>
                <c:pt idx="55">
                  <c:v>4.6937978552513276E-3</c:v>
                </c:pt>
                <c:pt idx="56">
                  <c:v>4.5524995162523558E-3</c:v>
                </c:pt>
                <c:pt idx="57">
                  <c:v>4.5222927380685236E-3</c:v>
                </c:pt>
                <c:pt idx="58">
                  <c:v>4.1358457422071082E-3</c:v>
                </c:pt>
                <c:pt idx="59">
                  <c:v>4.0986003444839882E-3</c:v>
                </c:pt>
                <c:pt idx="60">
                  <c:v>3.9278246038185879E-3</c:v>
                </c:pt>
                <c:pt idx="61">
                  <c:v>3.7785224662344606E-3</c:v>
                </c:pt>
                <c:pt idx="62">
                  <c:v>3.6053221282611072E-3</c:v>
                </c:pt>
                <c:pt idx="63">
                  <c:v>3.4051733918308968E-3</c:v>
                </c:pt>
                <c:pt idx="64">
                  <c:v>3.056531774871312E-3</c:v>
                </c:pt>
                <c:pt idx="65">
                  <c:v>3.0395295321188325E-3</c:v>
                </c:pt>
                <c:pt idx="66">
                  <c:v>2.7782853787234802E-3</c:v>
                </c:pt>
                <c:pt idx="67">
                  <c:v>2.6720954093859273E-3</c:v>
                </c:pt>
                <c:pt idx="68">
                  <c:v>1.8576364459236641E-3</c:v>
                </c:pt>
                <c:pt idx="69">
                  <c:v>1.6413406480363731E-3</c:v>
                </c:pt>
                <c:pt idx="70">
                  <c:v>1.6267127470977727E-3</c:v>
                </c:pt>
                <c:pt idx="71">
                  <c:v>1.5024396103144892E-3</c:v>
                </c:pt>
                <c:pt idx="72">
                  <c:v>1.4817168164110938E-3</c:v>
                </c:pt>
                <c:pt idx="73">
                  <c:v>1.2849405335046246E-3</c:v>
                </c:pt>
                <c:pt idx="74">
                  <c:v>1.2209153855961112E-3</c:v>
                </c:pt>
                <c:pt idx="75">
                  <c:v>1.1477085936680116E-3</c:v>
                </c:pt>
                <c:pt idx="76">
                  <c:v>1.1204213871146961E-3</c:v>
                </c:pt>
                <c:pt idx="77">
                  <c:v>1.0828018068242489E-3</c:v>
                </c:pt>
                <c:pt idx="78">
                  <c:v>9.1589938676547801E-4</c:v>
                </c:pt>
                <c:pt idx="79">
                  <c:v>7.1371243384243141E-4</c:v>
                </c:pt>
                <c:pt idx="80">
                  <c:v>6.1393080393551749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42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006C6D"/>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7"/>
              <c:tx>
                <c:rich>
                  <a:bodyPr/>
                  <a:lstStyle/>
                  <a:p>
                    <a:r>
                      <a:rPr lang="en-US" sz="500">
                        <a:solidFill>
                          <a:srgbClr val="006C6D"/>
                        </a:solidFill>
                      </a:rPr>
                      <a:t>Hawaiian Tropic Ozono Stick FPS50+ 42g</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Sheer Touch Lotion FPS50+ 240ml</c:v>
                </c:pt>
                <c:pt idx="5">
                  <c:v>Hawaiian Tropic Ozono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Hawaiian Tropic Ozono Stick FPS50+ 42g</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35743112547474E-2</c:v>
                </c:pt>
                <c:pt idx="1">
                  <c:v>5.7663753971391347E-2</c:v>
                </c:pt>
                <c:pt idx="2">
                  <c:v>5.0987262491549806E-2</c:v>
                </c:pt>
                <c:pt idx="3">
                  <c:v>4.5232569089806822E-2</c:v>
                </c:pt>
                <c:pt idx="4">
                  <c:v>4.3400275030610141E-2</c:v>
                </c:pt>
                <c:pt idx="5">
                  <c:v>4.3355623076096861E-2</c:v>
                </c:pt>
                <c:pt idx="6">
                  <c:v>3.553730530134732E-2</c:v>
                </c:pt>
                <c:pt idx="7">
                  <c:v>3.1132829702145898E-2</c:v>
                </c:pt>
                <c:pt idx="8">
                  <c:v>2.7921191041084106E-2</c:v>
                </c:pt>
                <c:pt idx="9">
                  <c:v>2.7185967554051359E-2</c:v>
                </c:pt>
                <c:pt idx="10">
                  <c:v>2.2648468318646666E-2</c:v>
                </c:pt>
                <c:pt idx="11">
                  <c:v>2.2599151113001762E-2</c:v>
                </c:pt>
                <c:pt idx="12">
                  <c:v>2.0280584793730037E-2</c:v>
                </c:pt>
                <c:pt idx="13">
                  <c:v>1.9412037877721087E-2</c:v>
                </c:pt>
                <c:pt idx="14">
                  <c:v>1.7262853679924771E-2</c:v>
                </c:pt>
                <c:pt idx="15">
                  <c:v>1.7230354485753795E-2</c:v>
                </c:pt>
                <c:pt idx="16">
                  <c:v>1.7105281610523087E-2</c:v>
                </c:pt>
                <c:pt idx="17">
                  <c:v>1.5240150141600463E-2</c:v>
                </c:pt>
                <c:pt idx="18">
                  <c:v>1.478541551379676E-2</c:v>
                </c:pt>
                <c:pt idx="19">
                  <c:v>1.4549733486302474E-2</c:v>
                </c:pt>
                <c:pt idx="20">
                  <c:v>1.3995550985549526E-2</c:v>
                </c:pt>
                <c:pt idx="21">
                  <c:v>1.3404845070628831E-2</c:v>
                </c:pt>
                <c:pt idx="22">
                  <c:v>1.2422506418097704E-2</c:v>
                </c:pt>
                <c:pt idx="23">
                  <c:v>1.2186594433871101E-2</c:v>
                </c:pt>
                <c:pt idx="24">
                  <c:v>1.1977770113531443E-2</c:v>
                </c:pt>
                <c:pt idx="25">
                  <c:v>1.1971719750642687E-2</c:v>
                </c:pt>
                <c:pt idx="26">
                  <c:v>1.1725089199379641E-2</c:v>
                </c:pt>
                <c:pt idx="27">
                  <c:v>1.0817393018723866E-2</c:v>
                </c:pt>
                <c:pt idx="28">
                  <c:v>1.0510706049858074E-2</c:v>
                </c:pt>
                <c:pt idx="29">
                  <c:v>1.0311817878258649E-2</c:v>
                </c:pt>
                <c:pt idx="30">
                  <c:v>9.8762310760219484E-3</c:v>
                </c:pt>
                <c:pt idx="31">
                  <c:v>9.8389074799268665E-3</c:v>
                </c:pt>
                <c:pt idx="32">
                  <c:v>9.7049549840721484E-3</c:v>
                </c:pt>
                <c:pt idx="33">
                  <c:v>9.5414637164465046E-3</c:v>
                </c:pt>
                <c:pt idx="34">
                  <c:v>9.2470638266190022E-3</c:v>
                </c:pt>
                <c:pt idx="35">
                  <c:v>9.2352163518402645E-3</c:v>
                </c:pt>
                <c:pt idx="36">
                  <c:v>9.2143123917945279E-3</c:v>
                </c:pt>
                <c:pt idx="37">
                  <c:v>9.2052960018120383E-3</c:v>
                </c:pt>
                <c:pt idx="38">
                  <c:v>7.5318348249651971E-3</c:v>
                </c:pt>
                <c:pt idx="39">
                  <c:v>7.1760605289997274E-3</c:v>
                </c:pt>
                <c:pt idx="40">
                  <c:v>6.9874612098451885E-3</c:v>
                </c:pt>
                <c:pt idx="41">
                  <c:v>6.9179062832313652E-3</c:v>
                </c:pt>
                <c:pt idx="42">
                  <c:v>6.8329267282794858E-3</c:v>
                </c:pt>
                <c:pt idx="43">
                  <c:v>6.6379067026250023E-3</c:v>
                </c:pt>
                <c:pt idx="44">
                  <c:v>6.5542690541285425E-3</c:v>
                </c:pt>
                <c:pt idx="45">
                  <c:v>6.4918684242862576E-3</c:v>
                </c:pt>
                <c:pt idx="46">
                  <c:v>6.1267331086280446E-3</c:v>
                </c:pt>
                <c:pt idx="47">
                  <c:v>6.0262997806833311E-3</c:v>
                </c:pt>
                <c:pt idx="48">
                  <c:v>5.5461321334206214E-3</c:v>
                </c:pt>
                <c:pt idx="49">
                  <c:v>5.2424885194694206E-3</c:v>
                </c:pt>
                <c:pt idx="50">
                  <c:v>5.183289949334818E-3</c:v>
                </c:pt>
                <c:pt idx="51">
                  <c:v>5.0052889666752781E-3</c:v>
                </c:pt>
                <c:pt idx="52">
                  <c:v>4.8299027992064142E-3</c:v>
                </c:pt>
                <c:pt idx="53">
                  <c:v>4.8067653803049431E-3</c:v>
                </c:pt>
                <c:pt idx="54">
                  <c:v>4.7052055291209802E-3</c:v>
                </c:pt>
                <c:pt idx="55">
                  <c:v>4.5675942333723938E-3</c:v>
                </c:pt>
                <c:pt idx="56">
                  <c:v>4.5159947695069076E-3</c:v>
                </c:pt>
                <c:pt idx="57">
                  <c:v>4.3398961905934961E-3</c:v>
                </c:pt>
                <c:pt idx="58">
                  <c:v>4.1606781959740062E-3</c:v>
                </c:pt>
                <c:pt idx="59">
                  <c:v>4.0955205255886404E-3</c:v>
                </c:pt>
                <c:pt idx="60">
                  <c:v>3.920806218134819E-3</c:v>
                </c:pt>
                <c:pt idx="61">
                  <c:v>3.7818132577061409E-3</c:v>
                </c:pt>
                <c:pt idx="62">
                  <c:v>3.636234332173049E-3</c:v>
                </c:pt>
                <c:pt idx="63">
                  <c:v>3.4398712011144881E-3</c:v>
                </c:pt>
                <c:pt idx="64">
                  <c:v>3.0842826155816935E-3</c:v>
                </c:pt>
                <c:pt idx="65">
                  <c:v>3.0491692851203904E-3</c:v>
                </c:pt>
                <c:pt idx="66">
                  <c:v>2.7837930597970793E-3</c:v>
                </c:pt>
                <c:pt idx="67">
                  <c:v>2.6794675656485892E-3</c:v>
                </c:pt>
                <c:pt idx="68">
                  <c:v>1.8520646271086251E-3</c:v>
                </c:pt>
                <c:pt idx="69">
                  <c:v>1.6383628252864184E-3</c:v>
                </c:pt>
                <c:pt idx="70">
                  <c:v>1.6259220398413634E-3</c:v>
                </c:pt>
                <c:pt idx="71">
                  <c:v>1.5066873702193186E-3</c:v>
                </c:pt>
                <c:pt idx="72">
                  <c:v>1.4681261039431904E-3</c:v>
                </c:pt>
                <c:pt idx="73">
                  <c:v>1.2869872078651973E-3</c:v>
                </c:pt>
                <c:pt idx="74">
                  <c:v>1.2260120052348241E-3</c:v>
                </c:pt>
                <c:pt idx="75">
                  <c:v>1.1514009118963604E-3</c:v>
                </c:pt>
                <c:pt idx="76">
                  <c:v>1.1140231231571316E-3</c:v>
                </c:pt>
                <c:pt idx="77">
                  <c:v>1.0756007187657946E-3</c:v>
                </c:pt>
                <c:pt idx="78">
                  <c:v>9.1576196584167028E-4</c:v>
                </c:pt>
                <c:pt idx="79">
                  <c:v>7.0900105048485426E-4</c:v>
                </c:pt>
                <c:pt idx="80">
                  <c:v>6.185985381323033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006C6D"/>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7ECAC4"/>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r>
                      <a:rPr lang="en-US"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Hawaiian Tropic Ozono Lotion FPS50+ 120ml</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Ozono Ultra-Light FPS50+ 14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392900485689213E-2</c:v>
                </c:pt>
                <c:pt idx="1">
                  <c:v>5.7616920101070619E-2</c:v>
                </c:pt>
                <c:pt idx="2">
                  <c:v>5.0961128952451716E-2</c:v>
                </c:pt>
                <c:pt idx="3">
                  <c:v>4.522127364913902E-2</c:v>
                </c:pt>
                <c:pt idx="4">
                  <c:v>4.344415398237237E-2</c:v>
                </c:pt>
                <c:pt idx="5">
                  <c:v>4.3392305604178893E-2</c:v>
                </c:pt>
                <c:pt idx="6">
                  <c:v>3.5542108115270428E-2</c:v>
                </c:pt>
                <c:pt idx="7">
                  <c:v>3.1122660837529615E-2</c:v>
                </c:pt>
                <c:pt idx="8">
                  <c:v>2.7896302649413982E-2</c:v>
                </c:pt>
                <c:pt idx="9">
                  <c:v>2.7169479716236993E-2</c:v>
                </c:pt>
                <c:pt idx="10">
                  <c:v>2.2650377942970364E-2</c:v>
                </c:pt>
                <c:pt idx="11">
                  <c:v>2.2618232308510226E-2</c:v>
                </c:pt>
                <c:pt idx="12">
                  <c:v>2.0311764122192124E-2</c:v>
                </c:pt>
                <c:pt idx="13">
                  <c:v>1.9398932153394065E-2</c:v>
                </c:pt>
                <c:pt idx="14">
                  <c:v>1.7261432627402488E-2</c:v>
                </c:pt>
                <c:pt idx="15">
                  <c:v>1.7255236330729975E-2</c:v>
                </c:pt>
                <c:pt idx="16">
                  <c:v>1.7107694952352502E-2</c:v>
                </c:pt>
                <c:pt idx="17">
                  <c:v>1.5281227985969065E-2</c:v>
                </c:pt>
                <c:pt idx="18">
                  <c:v>1.480370457474907E-2</c:v>
                </c:pt>
                <c:pt idx="19">
                  <c:v>1.4632286045608322E-2</c:v>
                </c:pt>
                <c:pt idx="20">
                  <c:v>1.4025201767479465E-2</c:v>
                </c:pt>
                <c:pt idx="21">
                  <c:v>1.3484517921454813E-2</c:v>
                </c:pt>
                <c:pt idx="22">
                  <c:v>1.2448410697697743E-2</c:v>
                </c:pt>
                <c:pt idx="23">
                  <c:v>1.2196664236544511E-2</c:v>
                </c:pt>
                <c:pt idx="24">
                  <c:v>1.1995982613347972E-2</c:v>
                </c:pt>
                <c:pt idx="25">
                  <c:v>1.1985399685788154E-2</c:v>
                </c:pt>
                <c:pt idx="26">
                  <c:v>1.1760743753662619E-2</c:v>
                </c:pt>
                <c:pt idx="27">
                  <c:v>1.084411911460108E-2</c:v>
                </c:pt>
                <c:pt idx="28">
                  <c:v>1.0542515041620504E-2</c:v>
                </c:pt>
                <c:pt idx="29">
                  <c:v>1.0343599165796875E-2</c:v>
                </c:pt>
                <c:pt idx="30">
                  <c:v>9.8805935974987501E-3</c:v>
                </c:pt>
                <c:pt idx="31">
                  <c:v>9.8787205689493604E-3</c:v>
                </c:pt>
                <c:pt idx="32">
                  <c:v>9.7081264376591703E-3</c:v>
                </c:pt>
                <c:pt idx="33">
                  <c:v>9.584516257187042E-3</c:v>
                </c:pt>
                <c:pt idx="34">
                  <c:v>9.2735903723986761E-3</c:v>
                </c:pt>
                <c:pt idx="35">
                  <c:v>9.2469499763924365E-3</c:v>
                </c:pt>
                <c:pt idx="36">
                  <c:v>9.2371190583632242E-3</c:v>
                </c:pt>
                <c:pt idx="37">
                  <c:v>9.2333073831181653E-3</c:v>
                </c:pt>
                <c:pt idx="38">
                  <c:v>7.5604351286438654E-3</c:v>
                </c:pt>
                <c:pt idx="39">
                  <c:v>7.2245433953886905E-3</c:v>
                </c:pt>
                <c:pt idx="40">
                  <c:v>7.0190898679587388E-3</c:v>
                </c:pt>
                <c:pt idx="41">
                  <c:v>6.9452187626839112E-3</c:v>
                </c:pt>
                <c:pt idx="42">
                  <c:v>6.8301319443405143E-3</c:v>
                </c:pt>
                <c:pt idx="43">
                  <c:v>6.6484225957370042E-3</c:v>
                </c:pt>
                <c:pt idx="44">
                  <c:v>6.5687434049204107E-3</c:v>
                </c:pt>
                <c:pt idx="45">
                  <c:v>6.5026655759460386E-3</c:v>
                </c:pt>
                <c:pt idx="46">
                  <c:v>6.1312496039164915E-3</c:v>
                </c:pt>
                <c:pt idx="47">
                  <c:v>6.05756865715698E-3</c:v>
                </c:pt>
                <c:pt idx="48">
                  <c:v>5.5601484095296689E-3</c:v>
                </c:pt>
                <c:pt idx="49">
                  <c:v>5.2595572416181072E-3</c:v>
                </c:pt>
                <c:pt idx="50">
                  <c:v>5.2273487567710535E-3</c:v>
                </c:pt>
                <c:pt idx="51">
                  <c:v>5.0258565561736544E-3</c:v>
                </c:pt>
                <c:pt idx="52">
                  <c:v>4.8346356154160578E-3</c:v>
                </c:pt>
                <c:pt idx="53">
                  <c:v>4.8034420266788386E-3</c:v>
                </c:pt>
                <c:pt idx="54">
                  <c:v>4.7135351001117501E-3</c:v>
                </c:pt>
                <c:pt idx="55">
                  <c:v>4.5936325781209004E-3</c:v>
                </c:pt>
                <c:pt idx="56">
                  <c:v>4.5294656831076441E-3</c:v>
                </c:pt>
                <c:pt idx="57">
                  <c:v>4.1623558522291331E-3</c:v>
                </c:pt>
                <c:pt idx="58">
                  <c:v>4.103479157299284E-3</c:v>
                </c:pt>
                <c:pt idx="59">
                  <c:v>3.940009345191924E-3</c:v>
                </c:pt>
                <c:pt idx="60">
                  <c:v>3.7849048020501194E-3</c:v>
                </c:pt>
                <c:pt idx="61">
                  <c:v>3.647545109322455E-3</c:v>
                </c:pt>
                <c:pt idx="62">
                  <c:v>3.4477408681662419E-3</c:v>
                </c:pt>
                <c:pt idx="63">
                  <c:v>3.2089759598830981E-3</c:v>
                </c:pt>
                <c:pt idx="64">
                  <c:v>3.0869939208495699E-3</c:v>
                </c:pt>
                <c:pt idx="65">
                  <c:v>3.0513402580822687E-3</c:v>
                </c:pt>
                <c:pt idx="66">
                  <c:v>2.7918521172350967E-3</c:v>
                </c:pt>
                <c:pt idx="67">
                  <c:v>2.6896373433258226E-3</c:v>
                </c:pt>
                <c:pt idx="68">
                  <c:v>1.8695282519430828E-3</c:v>
                </c:pt>
                <c:pt idx="69">
                  <c:v>1.653256685502161E-3</c:v>
                </c:pt>
                <c:pt idx="70">
                  <c:v>1.6353578624419983E-3</c:v>
                </c:pt>
                <c:pt idx="71">
                  <c:v>1.5052136248903294E-3</c:v>
                </c:pt>
                <c:pt idx="72">
                  <c:v>1.4957537984645517E-3</c:v>
                </c:pt>
                <c:pt idx="73">
                  <c:v>1.293558816581779E-3</c:v>
                </c:pt>
                <c:pt idx="74">
                  <c:v>1.2304374061622096E-3</c:v>
                </c:pt>
                <c:pt idx="75">
                  <c:v>1.1534699914843901E-3</c:v>
                </c:pt>
                <c:pt idx="76">
                  <c:v>1.1230144919486219E-3</c:v>
                </c:pt>
                <c:pt idx="77">
                  <c:v>1.0853285925882259E-3</c:v>
                </c:pt>
                <c:pt idx="78">
                  <c:v>9.1969760169628191E-4</c:v>
                </c:pt>
                <c:pt idx="79">
                  <c:v>7.1602128500950206E-4</c:v>
                </c:pt>
                <c:pt idx="80">
                  <c:v>6.1863516664034278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B$2:$B$4</c:f>
              <c:numCache>
                <c:formatCode>General</c:formatCode>
                <c:ptCount val="3"/>
                <c:pt idx="0">
                  <c:v>99</c:v>
                </c:pt>
                <c:pt idx="1">
                  <c:v>99</c:v>
                </c:pt>
                <c:pt idx="2">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C$2:$C$4</c:f>
              <c:numCache>
                <c:formatCode>General</c:formatCode>
                <c:ptCount val="3"/>
                <c:pt idx="0">
                  <c:v>100.81710210194628</c:v>
                </c:pt>
                <c:pt idx="1">
                  <c:v>109.9117608679143</c:v>
                </c:pt>
                <c:pt idx="2">
                  <c:v>100.7462081587131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D$2:$D$4</c:f>
              <c:numCache>
                <c:formatCode>General</c:formatCode>
                <c:ptCount val="3"/>
                <c:pt idx="0">
                  <c:v>102.02209818573913</c:v>
                </c:pt>
                <c:pt idx="1">
                  <c:v>114.9119920912031</c:v>
                </c:pt>
                <c:pt idx="2">
                  <c:v>100.4490342152911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3932826202732435E-2</c:v>
                </c:pt>
                <c:pt idx="1">
                  <c:v>8.2620049653358688E-2</c:v>
                </c:pt>
                <c:pt idx="2">
                  <c:v>8.7898672176465117E-2</c:v>
                </c:pt>
                <c:pt idx="3">
                  <c:v>7.7163383932516164E-2</c:v>
                </c:pt>
                <c:pt idx="4">
                  <c:v>4.6866110103050397E-2</c:v>
                </c:pt>
                <c:pt idx="5">
                  <c:v>4.9028227003304455E-2</c:v>
                </c:pt>
                <c:pt idx="6">
                  <c:v>2.653191749931616E-2</c:v>
                </c:pt>
                <c:pt idx="7">
                  <c:v>3.1796978832539499E-2</c:v>
                </c:pt>
                <c:pt idx="8">
                  <c:v>2.470905854210555E-2</c:v>
                </c:pt>
                <c:pt idx="9">
                  <c:v>2.1537065038704967E-2</c:v>
                </c:pt>
                <c:pt idx="10">
                  <c:v>1.9795204811843454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42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4.6467747496506576E-2</c:v>
                </c:pt>
                <c:pt idx="1">
                  <c:v>5.815722565518644E-2</c:v>
                </c:pt>
                <c:pt idx="2">
                  <c:v>3.4350816276175686E-2</c:v>
                </c:pt>
                <c:pt idx="3">
                  <c:v>2.8656221005602802E-2</c:v>
                </c:pt>
                <c:pt idx="4">
                  <c:v>3.3845738863206992E-2</c:v>
                </c:pt>
                <c:pt idx="5">
                  <c:v>2.4363333718762613E-2</c:v>
                </c:pt>
                <c:pt idx="6">
                  <c:v>3.093463542692089E-2</c:v>
                </c:pt>
                <c:pt idx="7">
                  <c:v>1.2171386934668472E-2</c:v>
                </c:pt>
                <c:pt idx="8">
                  <c:v>1.6535671602759219E-2</c:v>
                </c:pt>
                <c:pt idx="9">
                  <c:v>1.8981260848371446E-2</c:v>
                </c:pt>
                <c:pt idx="10">
                  <c:v>3.0333330652407529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006C6D"/>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7ECAC4"/>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7ECAC4"/>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7ECAC4"/>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r>
                      <a:rPr lang="sv-SE"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Sport Lotion FPS50+ 354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Hawaiian Tropic Sheer Touch Lotion FPS30 240ml</c:v>
                </c:pt>
                <c:pt idx="17">
                  <c:v>Nivea Sun Protect &amp; Refresh Sport Invisible Spray FPS50 20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Nuvel Suncare Kids Protection FPS50 120ml</c:v>
                </c:pt>
                <c:pt idx="55">
                  <c:v>Banana Boat Dry Balance Sport Lotion FPS50+ 18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2699840188757349E-2</c:v>
                </c:pt>
                <c:pt idx="1">
                  <c:v>5.6449482486490773E-2</c:v>
                </c:pt>
                <c:pt idx="2">
                  <c:v>5.0015302933251952E-2</c:v>
                </c:pt>
                <c:pt idx="3">
                  <c:v>4.4596119706893395E-2</c:v>
                </c:pt>
                <c:pt idx="4">
                  <c:v>4.1999015639187738E-2</c:v>
                </c:pt>
                <c:pt idx="5">
                  <c:v>4.1628090785178186E-2</c:v>
                </c:pt>
                <c:pt idx="6">
                  <c:v>3.3835253014128194E-2</c:v>
                </c:pt>
                <c:pt idx="7">
                  <c:v>3.0087385348096067E-2</c:v>
                </c:pt>
                <c:pt idx="8">
                  <c:v>2.666405130619031E-2</c:v>
                </c:pt>
                <c:pt idx="9">
                  <c:v>2.606905031881112E-2</c:v>
                </c:pt>
                <c:pt idx="10">
                  <c:v>2.4672391272059231E-2</c:v>
                </c:pt>
                <c:pt idx="11">
                  <c:v>2.2296844042762359E-2</c:v>
                </c:pt>
                <c:pt idx="12">
                  <c:v>2.2039134068523144E-2</c:v>
                </c:pt>
                <c:pt idx="13">
                  <c:v>1.9742445040568886E-2</c:v>
                </c:pt>
                <c:pt idx="14">
                  <c:v>1.869115816931867E-2</c:v>
                </c:pt>
                <c:pt idx="15">
                  <c:v>1.7092083437588092E-2</c:v>
                </c:pt>
                <c:pt idx="16">
                  <c:v>1.6804268946845145E-2</c:v>
                </c:pt>
                <c:pt idx="17">
                  <c:v>1.6752611681029636E-2</c:v>
                </c:pt>
                <c:pt idx="18">
                  <c:v>1.5143907954257243E-2</c:v>
                </c:pt>
                <c:pt idx="19">
                  <c:v>1.4665193556296252E-2</c:v>
                </c:pt>
                <c:pt idx="20">
                  <c:v>1.4421374710274076E-2</c:v>
                </c:pt>
                <c:pt idx="21">
                  <c:v>1.3872107707212113E-2</c:v>
                </c:pt>
                <c:pt idx="22">
                  <c:v>1.3201571665816716E-2</c:v>
                </c:pt>
                <c:pt idx="23">
                  <c:v>1.2232441081151166E-2</c:v>
                </c:pt>
                <c:pt idx="24">
                  <c:v>1.1930564198093846E-2</c:v>
                </c:pt>
                <c:pt idx="25">
                  <c:v>1.1884955322745985E-2</c:v>
                </c:pt>
                <c:pt idx="26">
                  <c:v>1.1807961965148326E-2</c:v>
                </c:pt>
                <c:pt idx="27">
                  <c:v>1.1673217256707438E-2</c:v>
                </c:pt>
                <c:pt idx="28">
                  <c:v>1.0789409535668313E-2</c:v>
                </c:pt>
                <c:pt idx="29">
                  <c:v>1.0394219307109313E-2</c:v>
                </c:pt>
                <c:pt idx="30">
                  <c:v>1.022890584517765E-2</c:v>
                </c:pt>
                <c:pt idx="31">
                  <c:v>9.8070457437200199E-3</c:v>
                </c:pt>
                <c:pt idx="32">
                  <c:v>9.7364757727908136E-3</c:v>
                </c:pt>
                <c:pt idx="33">
                  <c:v>9.5824278831468414E-3</c:v>
                </c:pt>
                <c:pt idx="34">
                  <c:v>9.3752501426599688E-3</c:v>
                </c:pt>
                <c:pt idx="35">
                  <c:v>9.2229868185752274E-3</c:v>
                </c:pt>
                <c:pt idx="36">
                  <c:v>9.1666975743319359E-3</c:v>
                </c:pt>
                <c:pt idx="37">
                  <c:v>9.1354037124568351E-3</c:v>
                </c:pt>
                <c:pt idx="38">
                  <c:v>9.0357267831730551E-3</c:v>
                </c:pt>
                <c:pt idx="39">
                  <c:v>7.4668709687271094E-3</c:v>
                </c:pt>
                <c:pt idx="40">
                  <c:v>7.164123805971043E-3</c:v>
                </c:pt>
                <c:pt idx="41">
                  <c:v>6.9385151038018041E-3</c:v>
                </c:pt>
                <c:pt idx="42">
                  <c:v>6.9051485190054687E-3</c:v>
                </c:pt>
                <c:pt idx="43">
                  <c:v>6.8066969102015982E-3</c:v>
                </c:pt>
                <c:pt idx="44">
                  <c:v>6.5779309890314653E-3</c:v>
                </c:pt>
                <c:pt idx="45">
                  <c:v>6.4754819436126689E-3</c:v>
                </c:pt>
                <c:pt idx="46">
                  <c:v>6.3683089639129664E-3</c:v>
                </c:pt>
                <c:pt idx="47">
                  <c:v>6.0417227759624256E-3</c:v>
                </c:pt>
                <c:pt idx="48">
                  <c:v>5.9902186859379335E-3</c:v>
                </c:pt>
                <c:pt idx="49">
                  <c:v>5.4705633792393824E-3</c:v>
                </c:pt>
                <c:pt idx="50">
                  <c:v>5.1505606417565648E-3</c:v>
                </c:pt>
                <c:pt idx="51">
                  <c:v>5.1428860490208891E-3</c:v>
                </c:pt>
                <c:pt idx="52">
                  <c:v>4.9439624331801893E-3</c:v>
                </c:pt>
                <c:pt idx="53">
                  <c:v>4.7404411206832956E-3</c:v>
                </c:pt>
                <c:pt idx="54">
                  <c:v>4.6327332114576578E-3</c:v>
                </c:pt>
                <c:pt idx="55">
                  <c:v>4.6234914930041509E-3</c:v>
                </c:pt>
                <c:pt idx="56">
                  <c:v>4.5431126025869588E-3</c:v>
                </c:pt>
                <c:pt idx="57">
                  <c:v>4.4574715687854633E-3</c:v>
                </c:pt>
                <c:pt idx="58">
                  <c:v>4.0489502088581798E-3</c:v>
                </c:pt>
                <c:pt idx="59">
                  <c:v>4.0419983585179694E-3</c:v>
                </c:pt>
                <c:pt idx="60">
                  <c:v>3.8658957594636272E-3</c:v>
                </c:pt>
                <c:pt idx="61">
                  <c:v>3.7567022205986689E-3</c:v>
                </c:pt>
                <c:pt idx="62">
                  <c:v>3.5885639883517046E-3</c:v>
                </c:pt>
                <c:pt idx="63">
                  <c:v>3.3707933959303523E-3</c:v>
                </c:pt>
                <c:pt idx="64">
                  <c:v>3.0100891516625667E-3</c:v>
                </c:pt>
                <c:pt idx="65">
                  <c:v>2.9899635550796858E-3</c:v>
                </c:pt>
                <c:pt idx="66">
                  <c:v>2.7640674475776675E-3</c:v>
                </c:pt>
                <c:pt idx="67">
                  <c:v>2.6720479592200917E-3</c:v>
                </c:pt>
                <c:pt idx="68">
                  <c:v>1.853669437480178E-3</c:v>
                </c:pt>
                <c:pt idx="69">
                  <c:v>1.6406805325878157E-3</c:v>
                </c:pt>
                <c:pt idx="70">
                  <c:v>1.5940662231565294E-3</c:v>
                </c:pt>
                <c:pt idx="71">
                  <c:v>1.4680051711270167E-3</c:v>
                </c:pt>
                <c:pt idx="72">
                  <c:v>1.4572821830595856E-3</c:v>
                </c:pt>
                <c:pt idx="73">
                  <c:v>1.2737411125426708E-3</c:v>
                </c:pt>
                <c:pt idx="74">
                  <c:v>1.1753951796479023E-3</c:v>
                </c:pt>
                <c:pt idx="75">
                  <c:v>1.1323023952721036E-3</c:v>
                </c:pt>
                <c:pt idx="76">
                  <c:v>1.1141134461820055E-3</c:v>
                </c:pt>
                <c:pt idx="77">
                  <c:v>1.0777552264477964E-3</c:v>
                </c:pt>
                <c:pt idx="78">
                  <c:v>9.09157839276318E-4</c:v>
                </c:pt>
                <c:pt idx="79">
                  <c:v>7.0269541825970165E-4</c:v>
                </c:pt>
                <c:pt idx="80">
                  <c:v>6.0944970162734344E-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7.6194970065378023E-2</c:v>
                </c:pt>
                <c:pt idx="1">
                  <c:v>5.1064706576016292E-2</c:v>
                </c:pt>
                <c:pt idx="2">
                  <c:v>4.8940348913589594E-2</c:v>
                </c:pt>
                <c:pt idx="3">
                  <c:v>3.7258680635385275E-2</c:v>
                </c:pt>
                <c:pt idx="4">
                  <c:v>6.0368437128472514E-2</c:v>
                </c:pt>
                <c:pt idx="5">
                  <c:v>4.1093445367883043E-2</c:v>
                </c:pt>
                <c:pt idx="6">
                  <c:v>4.5356696009588422E-2</c:v>
                </c:pt>
                <c:pt idx="7">
                  <c:v>2.4216743420216284E-2</c:v>
                </c:pt>
                <c:pt idx="8">
                  <c:v>2.5532121099775162E-2</c:v>
                </c:pt>
                <c:pt idx="9">
                  <c:v>2.5075624850658548E-2</c:v>
                </c:pt>
                <c:pt idx="10">
                  <c:v>1.529801016095394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006C6D"/>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r>
                      <a:rPr lang="en-US"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Caribbean Beach Kids Cream FPS50+ 250g</c:v>
                </c:pt>
                <c:pt idx="37">
                  <c:v>Hawaiian Tropic Ozono Lotion FPS50+ 120ml</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Hawaiian Tropic Silk Hydration Serum FPS50 10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51414408859069E-2</c:v>
                </c:pt>
                <c:pt idx="1">
                  <c:v>5.7653934824824546E-2</c:v>
                </c:pt>
                <c:pt idx="2">
                  <c:v>5.0989845946645504E-2</c:v>
                </c:pt>
                <c:pt idx="3">
                  <c:v>4.5239010002525525E-2</c:v>
                </c:pt>
                <c:pt idx="4">
                  <c:v>4.3449839249138977E-2</c:v>
                </c:pt>
                <c:pt idx="5">
                  <c:v>4.3439826197538202E-2</c:v>
                </c:pt>
                <c:pt idx="6">
                  <c:v>3.5574456439123346E-2</c:v>
                </c:pt>
                <c:pt idx="7">
                  <c:v>3.1127252066347304E-2</c:v>
                </c:pt>
                <c:pt idx="8">
                  <c:v>2.7931342017124321E-2</c:v>
                </c:pt>
                <c:pt idx="9">
                  <c:v>2.7190011923931404E-2</c:v>
                </c:pt>
                <c:pt idx="10">
                  <c:v>2.2669224615202526E-2</c:v>
                </c:pt>
                <c:pt idx="11">
                  <c:v>2.262087571491693E-2</c:v>
                </c:pt>
                <c:pt idx="12">
                  <c:v>2.0306599205588527E-2</c:v>
                </c:pt>
                <c:pt idx="13">
                  <c:v>1.9411970202760011E-2</c:v>
                </c:pt>
                <c:pt idx="14">
                  <c:v>1.7274467743632779E-2</c:v>
                </c:pt>
                <c:pt idx="15">
                  <c:v>1.7239033747521032E-2</c:v>
                </c:pt>
                <c:pt idx="16">
                  <c:v>1.7121208375642096E-2</c:v>
                </c:pt>
                <c:pt idx="17">
                  <c:v>1.5276755177081247E-2</c:v>
                </c:pt>
                <c:pt idx="18">
                  <c:v>1.4801479916641047E-2</c:v>
                </c:pt>
                <c:pt idx="19">
                  <c:v>1.4635597677936868E-2</c:v>
                </c:pt>
                <c:pt idx="20">
                  <c:v>1.4017605909262775E-2</c:v>
                </c:pt>
                <c:pt idx="21">
                  <c:v>1.3478950102921931E-2</c:v>
                </c:pt>
                <c:pt idx="22">
                  <c:v>1.2439860536621893E-2</c:v>
                </c:pt>
                <c:pt idx="23">
                  <c:v>1.2186705727385644E-2</c:v>
                </c:pt>
                <c:pt idx="24">
                  <c:v>1.1990017172752665E-2</c:v>
                </c:pt>
                <c:pt idx="25">
                  <c:v>1.1985571677062004E-2</c:v>
                </c:pt>
                <c:pt idx="26">
                  <c:v>1.1757434904516799E-2</c:v>
                </c:pt>
                <c:pt idx="27">
                  <c:v>1.0843275834079649E-2</c:v>
                </c:pt>
                <c:pt idx="28">
                  <c:v>1.0537291863827481E-2</c:v>
                </c:pt>
                <c:pt idx="29">
                  <c:v>1.0345353145786079E-2</c:v>
                </c:pt>
                <c:pt idx="30">
                  <c:v>9.8912365373893963E-3</c:v>
                </c:pt>
                <c:pt idx="31">
                  <c:v>9.873564537721256E-3</c:v>
                </c:pt>
                <c:pt idx="32">
                  <c:v>9.7073069591359692E-3</c:v>
                </c:pt>
                <c:pt idx="33">
                  <c:v>9.5892743446971979E-3</c:v>
                </c:pt>
                <c:pt idx="34">
                  <c:v>9.2706831543767996E-3</c:v>
                </c:pt>
                <c:pt idx="35">
                  <c:v>9.2396955919055185E-3</c:v>
                </c:pt>
                <c:pt idx="36">
                  <c:v>9.2396590164462774E-3</c:v>
                </c:pt>
                <c:pt idx="37">
                  <c:v>9.2289543160112807E-3</c:v>
                </c:pt>
                <c:pt idx="38">
                  <c:v>7.5567615073431332E-3</c:v>
                </c:pt>
                <c:pt idx="39">
                  <c:v>7.2114638585842744E-3</c:v>
                </c:pt>
                <c:pt idx="40">
                  <c:v>7.0185024293124261E-3</c:v>
                </c:pt>
                <c:pt idx="41">
                  <c:v>6.9291913848727876E-3</c:v>
                </c:pt>
                <c:pt idx="42">
                  <c:v>6.820152279905076E-3</c:v>
                </c:pt>
                <c:pt idx="43">
                  <c:v>6.6520349531951056E-3</c:v>
                </c:pt>
                <c:pt idx="44">
                  <c:v>6.5636080369282602E-3</c:v>
                </c:pt>
                <c:pt idx="45">
                  <c:v>6.498055203073074E-3</c:v>
                </c:pt>
                <c:pt idx="46">
                  <c:v>6.1302395737766842E-3</c:v>
                </c:pt>
                <c:pt idx="47">
                  <c:v>6.0536642957172418E-3</c:v>
                </c:pt>
                <c:pt idx="48">
                  <c:v>5.5574951596493666E-3</c:v>
                </c:pt>
                <c:pt idx="49">
                  <c:v>5.2564957148602213E-3</c:v>
                </c:pt>
                <c:pt idx="50">
                  <c:v>5.2125900152414925E-3</c:v>
                </c:pt>
                <c:pt idx="51">
                  <c:v>5.0222268612399338E-3</c:v>
                </c:pt>
                <c:pt idx="52">
                  <c:v>4.828162661590427E-3</c:v>
                </c:pt>
                <c:pt idx="53">
                  <c:v>4.8065231633641946E-3</c:v>
                </c:pt>
                <c:pt idx="54">
                  <c:v>4.7048131609414689E-3</c:v>
                </c:pt>
                <c:pt idx="55">
                  <c:v>4.5896921352313368E-3</c:v>
                </c:pt>
                <c:pt idx="56">
                  <c:v>4.5323423043839546E-3</c:v>
                </c:pt>
                <c:pt idx="57">
                  <c:v>4.1616080500978736E-3</c:v>
                </c:pt>
                <c:pt idx="58">
                  <c:v>4.1000387907834191E-3</c:v>
                </c:pt>
                <c:pt idx="59">
                  <c:v>3.9388838125764382E-3</c:v>
                </c:pt>
                <c:pt idx="60">
                  <c:v>3.787332325945449E-3</c:v>
                </c:pt>
                <c:pt idx="61">
                  <c:v>3.6476151411236261E-3</c:v>
                </c:pt>
                <c:pt idx="62">
                  <c:v>3.4475373998594338E-3</c:v>
                </c:pt>
                <c:pt idx="63">
                  <c:v>3.0854409802432928E-3</c:v>
                </c:pt>
                <c:pt idx="64">
                  <c:v>3.055461947403896E-3</c:v>
                </c:pt>
                <c:pt idx="65">
                  <c:v>3.0528911770792565E-3</c:v>
                </c:pt>
                <c:pt idx="66">
                  <c:v>2.7863366135613388E-3</c:v>
                </c:pt>
                <c:pt idx="67">
                  <c:v>2.6888621045869478E-3</c:v>
                </c:pt>
                <c:pt idx="68">
                  <c:v>1.8629165514105564E-3</c:v>
                </c:pt>
                <c:pt idx="69">
                  <c:v>1.6508625317007062E-3</c:v>
                </c:pt>
                <c:pt idx="70">
                  <c:v>1.6363329121404466E-3</c:v>
                </c:pt>
                <c:pt idx="71">
                  <c:v>1.5045702201382832E-3</c:v>
                </c:pt>
                <c:pt idx="72">
                  <c:v>1.4934592781012061E-3</c:v>
                </c:pt>
                <c:pt idx="73">
                  <c:v>1.2947410175170107E-3</c:v>
                </c:pt>
                <c:pt idx="74">
                  <c:v>1.229089010699395E-3</c:v>
                </c:pt>
                <c:pt idx="75">
                  <c:v>1.152850222874118E-3</c:v>
                </c:pt>
                <c:pt idx="76">
                  <c:v>1.1215740169018982E-3</c:v>
                </c:pt>
                <c:pt idx="77">
                  <c:v>1.0809784720831341E-3</c:v>
                </c:pt>
                <c:pt idx="78">
                  <c:v>9.1595293809040444E-4</c:v>
                </c:pt>
                <c:pt idx="79">
                  <c:v>7.1466292914546144E-4</c:v>
                </c:pt>
                <c:pt idx="80">
                  <c:v>6.194000718438498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006C6D"/>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lang="en-US"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Silk Hydration Lip balm FPS3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82908813210753E-2</c:v>
                </c:pt>
                <c:pt idx="1">
                  <c:v>5.7669913875772236E-2</c:v>
                </c:pt>
                <c:pt idx="2">
                  <c:v>5.1001046149208723E-2</c:v>
                </c:pt>
                <c:pt idx="3">
                  <c:v>4.524262085281025E-2</c:v>
                </c:pt>
                <c:pt idx="4">
                  <c:v>4.3479951143822318E-2</c:v>
                </c:pt>
                <c:pt idx="5">
                  <c:v>4.3459563522846467E-2</c:v>
                </c:pt>
                <c:pt idx="6">
                  <c:v>3.5574601152652673E-2</c:v>
                </c:pt>
                <c:pt idx="7">
                  <c:v>3.1147672587277204E-2</c:v>
                </c:pt>
                <c:pt idx="8">
                  <c:v>2.7937141641373491E-2</c:v>
                </c:pt>
                <c:pt idx="9">
                  <c:v>2.7189876909365873E-2</c:v>
                </c:pt>
                <c:pt idx="10">
                  <c:v>2.2656084371174601E-2</c:v>
                </c:pt>
                <c:pt idx="11">
                  <c:v>2.2624295923573189E-2</c:v>
                </c:pt>
                <c:pt idx="12">
                  <c:v>2.0297719424645245E-2</c:v>
                </c:pt>
                <c:pt idx="13">
                  <c:v>1.9412354297998813E-2</c:v>
                </c:pt>
                <c:pt idx="14">
                  <c:v>1.7282732520830121E-2</c:v>
                </c:pt>
                <c:pt idx="15">
                  <c:v>1.7242761439832891E-2</c:v>
                </c:pt>
                <c:pt idx="16">
                  <c:v>1.71195997836666E-2</c:v>
                </c:pt>
                <c:pt idx="17">
                  <c:v>1.5265376682592067E-2</c:v>
                </c:pt>
                <c:pt idx="18">
                  <c:v>1.480175713055774E-2</c:v>
                </c:pt>
                <c:pt idx="19">
                  <c:v>1.4614983307310796E-2</c:v>
                </c:pt>
                <c:pt idx="20">
                  <c:v>1.4039676866060575E-2</c:v>
                </c:pt>
                <c:pt idx="21">
                  <c:v>1.3473308207565413E-2</c:v>
                </c:pt>
                <c:pt idx="22">
                  <c:v>1.2433422912423447E-2</c:v>
                </c:pt>
                <c:pt idx="23">
                  <c:v>1.2203253455713766E-2</c:v>
                </c:pt>
                <c:pt idx="24">
                  <c:v>1.1995255157805917E-2</c:v>
                </c:pt>
                <c:pt idx="25">
                  <c:v>1.1971028823848534E-2</c:v>
                </c:pt>
                <c:pt idx="26">
                  <c:v>1.1744833036825346E-2</c:v>
                </c:pt>
                <c:pt idx="27">
                  <c:v>1.0836915132393349E-2</c:v>
                </c:pt>
                <c:pt idx="28">
                  <c:v>1.0518514283227746E-2</c:v>
                </c:pt>
                <c:pt idx="29">
                  <c:v>1.0320300086593438E-2</c:v>
                </c:pt>
                <c:pt idx="30">
                  <c:v>9.8839317239259594E-3</c:v>
                </c:pt>
                <c:pt idx="31">
                  <c:v>9.8549270857797508E-3</c:v>
                </c:pt>
                <c:pt idx="32">
                  <c:v>9.6990742603339404E-3</c:v>
                </c:pt>
                <c:pt idx="33">
                  <c:v>9.5918045080244409E-3</c:v>
                </c:pt>
                <c:pt idx="34">
                  <c:v>9.2634878951517747E-3</c:v>
                </c:pt>
                <c:pt idx="35">
                  <c:v>9.2447633440801164E-3</c:v>
                </c:pt>
                <c:pt idx="36">
                  <c:v>9.2428332653184484E-3</c:v>
                </c:pt>
                <c:pt idx="37">
                  <c:v>9.2176092315326853E-3</c:v>
                </c:pt>
                <c:pt idx="38">
                  <c:v>7.5440009429491644E-3</c:v>
                </c:pt>
                <c:pt idx="39">
                  <c:v>7.2016748989086445E-3</c:v>
                </c:pt>
                <c:pt idx="40">
                  <c:v>7.0072662954029667E-3</c:v>
                </c:pt>
                <c:pt idx="41">
                  <c:v>6.9172119409838572E-3</c:v>
                </c:pt>
                <c:pt idx="42">
                  <c:v>6.8364430297622849E-3</c:v>
                </c:pt>
                <c:pt idx="43">
                  <c:v>6.6441603482164241E-3</c:v>
                </c:pt>
                <c:pt idx="44">
                  <c:v>6.5583711524093459E-3</c:v>
                </c:pt>
                <c:pt idx="45">
                  <c:v>6.5045590779752799E-3</c:v>
                </c:pt>
                <c:pt idx="46">
                  <c:v>6.1308680580853953E-3</c:v>
                </c:pt>
                <c:pt idx="47">
                  <c:v>6.0396609855432959E-3</c:v>
                </c:pt>
                <c:pt idx="48">
                  <c:v>5.5487543241071312E-3</c:v>
                </c:pt>
                <c:pt idx="49">
                  <c:v>5.267242801920753E-3</c:v>
                </c:pt>
                <c:pt idx="50">
                  <c:v>5.2174398128177037E-3</c:v>
                </c:pt>
                <c:pt idx="51">
                  <c:v>5.027796912348551E-3</c:v>
                </c:pt>
                <c:pt idx="52">
                  <c:v>4.8355819113872298E-3</c:v>
                </c:pt>
                <c:pt idx="53">
                  <c:v>4.8061431790169945E-3</c:v>
                </c:pt>
                <c:pt idx="54">
                  <c:v>4.7066410638729817E-3</c:v>
                </c:pt>
                <c:pt idx="55">
                  <c:v>4.5877036114847919E-3</c:v>
                </c:pt>
                <c:pt idx="56">
                  <c:v>4.5189810255768011E-3</c:v>
                </c:pt>
                <c:pt idx="57">
                  <c:v>4.1603354841201938E-3</c:v>
                </c:pt>
                <c:pt idx="58">
                  <c:v>4.0996550546750872E-3</c:v>
                </c:pt>
                <c:pt idx="59">
                  <c:v>3.9317147134321244E-3</c:v>
                </c:pt>
                <c:pt idx="60">
                  <c:v>3.7802517937025808E-3</c:v>
                </c:pt>
                <c:pt idx="61">
                  <c:v>3.6461488322010655E-3</c:v>
                </c:pt>
                <c:pt idx="62">
                  <c:v>3.4493844833214759E-3</c:v>
                </c:pt>
                <c:pt idx="63">
                  <c:v>3.1284243210084532E-3</c:v>
                </c:pt>
                <c:pt idx="64">
                  <c:v>3.088382144875139E-3</c:v>
                </c:pt>
                <c:pt idx="65">
                  <c:v>3.0540762835527375E-3</c:v>
                </c:pt>
                <c:pt idx="66">
                  <c:v>2.7850255567319635E-3</c:v>
                </c:pt>
                <c:pt idx="67">
                  <c:v>2.6902081441484717E-3</c:v>
                </c:pt>
                <c:pt idx="68">
                  <c:v>1.8589756370614796E-3</c:v>
                </c:pt>
                <c:pt idx="69">
                  <c:v>1.645467266597946E-3</c:v>
                </c:pt>
                <c:pt idx="70">
                  <c:v>1.6342774430306974E-3</c:v>
                </c:pt>
                <c:pt idx="71">
                  <c:v>1.5052389871508328E-3</c:v>
                </c:pt>
                <c:pt idx="72">
                  <c:v>1.4852630193365813E-3</c:v>
                </c:pt>
                <c:pt idx="73">
                  <c:v>1.291329619165855E-3</c:v>
                </c:pt>
                <c:pt idx="74">
                  <c:v>1.2283516268154463E-3</c:v>
                </c:pt>
                <c:pt idx="75">
                  <c:v>1.1537060276739551E-3</c:v>
                </c:pt>
                <c:pt idx="76">
                  <c:v>1.1177840434332315E-3</c:v>
                </c:pt>
                <c:pt idx="77">
                  <c:v>1.0772704367970436E-3</c:v>
                </c:pt>
                <c:pt idx="78">
                  <c:v>9.16494493197482E-4</c:v>
                </c:pt>
                <c:pt idx="79">
                  <c:v>7.1426453765056008E-4</c:v>
                </c:pt>
                <c:pt idx="80">
                  <c:v>6.1956787042360538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006C6D"/>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r>
                      <a:rPr lang="en-US"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Hawaiian Tropic Silk Hydration Glow Mist FPS50+ 10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35798883301395E-2</c:v>
                </c:pt>
                <c:pt idx="1">
                  <c:v>5.7720872920682086E-2</c:v>
                </c:pt>
                <c:pt idx="2">
                  <c:v>5.1035505642474374E-2</c:v>
                </c:pt>
                <c:pt idx="3">
                  <c:v>4.5297214290850832E-2</c:v>
                </c:pt>
                <c:pt idx="4">
                  <c:v>4.3502025840678284E-2</c:v>
                </c:pt>
                <c:pt idx="5">
                  <c:v>4.3471898493294164E-2</c:v>
                </c:pt>
                <c:pt idx="6">
                  <c:v>3.5597106768285473E-2</c:v>
                </c:pt>
                <c:pt idx="7">
                  <c:v>3.1152763945719926E-2</c:v>
                </c:pt>
                <c:pt idx="8">
                  <c:v>2.7949356357386216E-2</c:v>
                </c:pt>
                <c:pt idx="9">
                  <c:v>2.7207973333783417E-2</c:v>
                </c:pt>
                <c:pt idx="10">
                  <c:v>2.2690226499898741E-2</c:v>
                </c:pt>
                <c:pt idx="11">
                  <c:v>2.2644414218920089E-2</c:v>
                </c:pt>
                <c:pt idx="12">
                  <c:v>2.0327969730152901E-2</c:v>
                </c:pt>
                <c:pt idx="13">
                  <c:v>1.9423808795131805E-2</c:v>
                </c:pt>
                <c:pt idx="14">
                  <c:v>1.7289189774076997E-2</c:v>
                </c:pt>
                <c:pt idx="15">
                  <c:v>1.726828063027129E-2</c:v>
                </c:pt>
                <c:pt idx="16">
                  <c:v>1.7135535053078639E-2</c:v>
                </c:pt>
                <c:pt idx="17">
                  <c:v>1.5294775434790034E-2</c:v>
                </c:pt>
                <c:pt idx="18">
                  <c:v>1.4820130395797337E-2</c:v>
                </c:pt>
                <c:pt idx="19">
                  <c:v>1.4640353047997498E-2</c:v>
                </c:pt>
                <c:pt idx="20">
                  <c:v>1.405226379916808E-2</c:v>
                </c:pt>
                <c:pt idx="21">
                  <c:v>1.3495246160869718E-2</c:v>
                </c:pt>
                <c:pt idx="22">
                  <c:v>1.2454284180743477E-2</c:v>
                </c:pt>
                <c:pt idx="23">
                  <c:v>1.2207912219199047E-2</c:v>
                </c:pt>
                <c:pt idx="24">
                  <c:v>1.2003050851292409E-2</c:v>
                </c:pt>
                <c:pt idx="25">
                  <c:v>1.1984700162141841E-2</c:v>
                </c:pt>
                <c:pt idx="26">
                  <c:v>1.1767471263965332E-2</c:v>
                </c:pt>
                <c:pt idx="27">
                  <c:v>1.0854282396732116E-2</c:v>
                </c:pt>
                <c:pt idx="28">
                  <c:v>1.0546404653164063E-2</c:v>
                </c:pt>
                <c:pt idx="29">
                  <c:v>1.0343115955406159E-2</c:v>
                </c:pt>
                <c:pt idx="30">
                  <c:v>9.8956988825404744E-3</c:v>
                </c:pt>
                <c:pt idx="31">
                  <c:v>9.8831908503998339E-3</c:v>
                </c:pt>
                <c:pt idx="32">
                  <c:v>9.716134271154293E-3</c:v>
                </c:pt>
                <c:pt idx="33">
                  <c:v>9.5909365420467352E-3</c:v>
                </c:pt>
                <c:pt idx="34">
                  <c:v>9.2821729613242372E-3</c:v>
                </c:pt>
                <c:pt idx="35">
                  <c:v>9.251826643594533E-3</c:v>
                </c:pt>
                <c:pt idx="36">
                  <c:v>9.2481870629316735E-3</c:v>
                </c:pt>
                <c:pt idx="37">
                  <c:v>9.2392065955023191E-3</c:v>
                </c:pt>
                <c:pt idx="38">
                  <c:v>7.553556274227464E-3</c:v>
                </c:pt>
                <c:pt idx="39">
                  <c:v>7.2217546307663917E-3</c:v>
                </c:pt>
                <c:pt idx="40">
                  <c:v>7.0273583152601956E-3</c:v>
                </c:pt>
                <c:pt idx="41">
                  <c:v>6.9434310242310789E-3</c:v>
                </c:pt>
                <c:pt idx="42">
                  <c:v>6.8437657662395448E-3</c:v>
                </c:pt>
                <c:pt idx="43">
                  <c:v>6.6528595120784184E-3</c:v>
                </c:pt>
                <c:pt idx="44">
                  <c:v>6.5739425071652648E-3</c:v>
                </c:pt>
                <c:pt idx="45">
                  <c:v>6.5135942867116095E-3</c:v>
                </c:pt>
                <c:pt idx="46">
                  <c:v>6.1383838531141235E-3</c:v>
                </c:pt>
                <c:pt idx="47">
                  <c:v>6.0579252882831183E-3</c:v>
                </c:pt>
                <c:pt idx="48">
                  <c:v>5.5638311527614883E-3</c:v>
                </c:pt>
                <c:pt idx="49">
                  <c:v>5.2576361740359744E-3</c:v>
                </c:pt>
                <c:pt idx="50">
                  <c:v>5.2152838494298982E-3</c:v>
                </c:pt>
                <c:pt idx="51">
                  <c:v>5.0294382597160948E-3</c:v>
                </c:pt>
                <c:pt idx="52">
                  <c:v>4.8378391598491843E-3</c:v>
                </c:pt>
                <c:pt idx="53">
                  <c:v>4.8132428674289357E-3</c:v>
                </c:pt>
                <c:pt idx="54">
                  <c:v>4.7140900331897242E-3</c:v>
                </c:pt>
                <c:pt idx="55">
                  <c:v>4.6031084877950993E-3</c:v>
                </c:pt>
                <c:pt idx="56">
                  <c:v>4.5353758724743821E-3</c:v>
                </c:pt>
                <c:pt idx="57">
                  <c:v>4.1656874530065511E-3</c:v>
                </c:pt>
                <c:pt idx="58">
                  <c:v>4.1069441794026502E-3</c:v>
                </c:pt>
                <c:pt idx="59">
                  <c:v>3.9509002404723948E-3</c:v>
                </c:pt>
                <c:pt idx="60">
                  <c:v>3.7848996004548031E-3</c:v>
                </c:pt>
                <c:pt idx="61">
                  <c:v>3.6492790362622957E-3</c:v>
                </c:pt>
                <c:pt idx="62">
                  <c:v>3.451772818452077E-3</c:v>
                </c:pt>
                <c:pt idx="63">
                  <c:v>3.0895842319277416E-3</c:v>
                </c:pt>
                <c:pt idx="64">
                  <c:v>3.0546251082165647E-3</c:v>
                </c:pt>
                <c:pt idx="65">
                  <c:v>2.7891568903208341E-3</c:v>
                </c:pt>
                <c:pt idx="66">
                  <c:v>2.6881574962055082E-3</c:v>
                </c:pt>
                <c:pt idx="67">
                  <c:v>2.0711394486087778E-3</c:v>
                </c:pt>
                <c:pt idx="68">
                  <c:v>1.8656182466021088E-3</c:v>
                </c:pt>
                <c:pt idx="69">
                  <c:v>1.64906879366254E-3</c:v>
                </c:pt>
                <c:pt idx="70">
                  <c:v>1.6352166803877053E-3</c:v>
                </c:pt>
                <c:pt idx="71">
                  <c:v>1.5053560731684043E-3</c:v>
                </c:pt>
                <c:pt idx="72">
                  <c:v>1.4917381546967043E-3</c:v>
                </c:pt>
                <c:pt idx="73">
                  <c:v>1.2904189826196898E-3</c:v>
                </c:pt>
                <c:pt idx="74">
                  <c:v>1.2314456888632681E-3</c:v>
                </c:pt>
                <c:pt idx="75">
                  <c:v>1.154501090257983E-3</c:v>
                </c:pt>
                <c:pt idx="76">
                  <c:v>1.1207619230250972E-3</c:v>
                </c:pt>
                <c:pt idx="77">
                  <c:v>1.0832300278901938E-3</c:v>
                </c:pt>
                <c:pt idx="78">
                  <c:v>9.1703544958991691E-4</c:v>
                </c:pt>
                <c:pt idx="79">
                  <c:v>7.1650154984770733E-4</c:v>
                </c:pt>
                <c:pt idx="80">
                  <c:v>6.1925801255246615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006C6D"/>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r>
                      <a:rPr lang="en-US"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Caribbean Beach Kids Cream FPS50+ 250g</c:v>
                </c:pt>
                <c:pt idx="37">
                  <c:v>Hawaiian Tropic Ozono Lotion FPS50+ 120ml</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Hawaiian Tropic Silk Hydration Serum FPS50 10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51414408859069E-2</c:v>
                </c:pt>
                <c:pt idx="1">
                  <c:v>5.7653934824824546E-2</c:v>
                </c:pt>
                <c:pt idx="2">
                  <c:v>5.0989845946645504E-2</c:v>
                </c:pt>
                <c:pt idx="3">
                  <c:v>4.5239010002525525E-2</c:v>
                </c:pt>
                <c:pt idx="4">
                  <c:v>4.3449839249138977E-2</c:v>
                </c:pt>
                <c:pt idx="5">
                  <c:v>4.3439826197538202E-2</c:v>
                </c:pt>
                <c:pt idx="6">
                  <c:v>3.5574456439123346E-2</c:v>
                </c:pt>
                <c:pt idx="7">
                  <c:v>3.1127252066347304E-2</c:v>
                </c:pt>
                <c:pt idx="8">
                  <c:v>2.7931342017124321E-2</c:v>
                </c:pt>
                <c:pt idx="9">
                  <c:v>2.7190011923931404E-2</c:v>
                </c:pt>
                <c:pt idx="10">
                  <c:v>2.2669224615202526E-2</c:v>
                </c:pt>
                <c:pt idx="11">
                  <c:v>2.262087571491693E-2</c:v>
                </c:pt>
                <c:pt idx="12">
                  <c:v>2.0306599205588527E-2</c:v>
                </c:pt>
                <c:pt idx="13">
                  <c:v>1.9411970202760011E-2</c:v>
                </c:pt>
                <c:pt idx="14">
                  <c:v>1.7274467743632779E-2</c:v>
                </c:pt>
                <c:pt idx="15">
                  <c:v>1.7239033747521032E-2</c:v>
                </c:pt>
                <c:pt idx="16">
                  <c:v>1.7121208375642096E-2</c:v>
                </c:pt>
                <c:pt idx="17">
                  <c:v>1.5276755177081247E-2</c:v>
                </c:pt>
                <c:pt idx="18">
                  <c:v>1.4801479916641047E-2</c:v>
                </c:pt>
                <c:pt idx="19">
                  <c:v>1.4635597677936868E-2</c:v>
                </c:pt>
                <c:pt idx="20">
                  <c:v>1.4017605909262775E-2</c:v>
                </c:pt>
                <c:pt idx="21">
                  <c:v>1.3478950102921931E-2</c:v>
                </c:pt>
                <c:pt idx="22">
                  <c:v>1.2439860536621893E-2</c:v>
                </c:pt>
                <c:pt idx="23">
                  <c:v>1.2186705727385644E-2</c:v>
                </c:pt>
                <c:pt idx="24">
                  <c:v>1.1990017172752665E-2</c:v>
                </c:pt>
                <c:pt idx="25">
                  <c:v>1.1985571677062004E-2</c:v>
                </c:pt>
                <c:pt idx="26">
                  <c:v>1.1757434904516799E-2</c:v>
                </c:pt>
                <c:pt idx="27">
                  <c:v>1.0843275834079649E-2</c:v>
                </c:pt>
                <c:pt idx="28">
                  <c:v>1.0537291863827481E-2</c:v>
                </c:pt>
                <c:pt idx="29">
                  <c:v>1.0345353145786079E-2</c:v>
                </c:pt>
                <c:pt idx="30">
                  <c:v>9.8912365373893963E-3</c:v>
                </c:pt>
                <c:pt idx="31">
                  <c:v>9.873564537721256E-3</c:v>
                </c:pt>
                <c:pt idx="32">
                  <c:v>9.7073069591359692E-3</c:v>
                </c:pt>
                <c:pt idx="33">
                  <c:v>9.5892743446971979E-3</c:v>
                </c:pt>
                <c:pt idx="34">
                  <c:v>9.2706831543767996E-3</c:v>
                </c:pt>
                <c:pt idx="35">
                  <c:v>9.2396955919055185E-3</c:v>
                </c:pt>
                <c:pt idx="36">
                  <c:v>9.2396590164462774E-3</c:v>
                </c:pt>
                <c:pt idx="37">
                  <c:v>9.2289543160112807E-3</c:v>
                </c:pt>
                <c:pt idx="38">
                  <c:v>7.5567615073431332E-3</c:v>
                </c:pt>
                <c:pt idx="39">
                  <c:v>7.2114638585842744E-3</c:v>
                </c:pt>
                <c:pt idx="40">
                  <c:v>7.0185024293124261E-3</c:v>
                </c:pt>
                <c:pt idx="41">
                  <c:v>6.9291913848727876E-3</c:v>
                </c:pt>
                <c:pt idx="42">
                  <c:v>6.820152279905076E-3</c:v>
                </c:pt>
                <c:pt idx="43">
                  <c:v>6.6520349531951056E-3</c:v>
                </c:pt>
                <c:pt idx="44">
                  <c:v>6.5636080369282602E-3</c:v>
                </c:pt>
                <c:pt idx="45">
                  <c:v>6.498055203073074E-3</c:v>
                </c:pt>
                <c:pt idx="46">
                  <c:v>6.1302395737766842E-3</c:v>
                </c:pt>
                <c:pt idx="47">
                  <c:v>6.0536642957172418E-3</c:v>
                </c:pt>
                <c:pt idx="48">
                  <c:v>5.5574951596493666E-3</c:v>
                </c:pt>
                <c:pt idx="49">
                  <c:v>5.2564957148602213E-3</c:v>
                </c:pt>
                <c:pt idx="50">
                  <c:v>5.2125900152414925E-3</c:v>
                </c:pt>
                <c:pt idx="51">
                  <c:v>5.0222268612399338E-3</c:v>
                </c:pt>
                <c:pt idx="52">
                  <c:v>4.828162661590427E-3</c:v>
                </c:pt>
                <c:pt idx="53">
                  <c:v>4.8065231633641946E-3</c:v>
                </c:pt>
                <c:pt idx="54">
                  <c:v>4.7048131609414689E-3</c:v>
                </c:pt>
                <c:pt idx="55">
                  <c:v>4.5896921352313368E-3</c:v>
                </c:pt>
                <c:pt idx="56">
                  <c:v>4.5323423043839546E-3</c:v>
                </c:pt>
                <c:pt idx="57">
                  <c:v>4.1616080500978736E-3</c:v>
                </c:pt>
                <c:pt idx="58">
                  <c:v>4.1000387907834191E-3</c:v>
                </c:pt>
                <c:pt idx="59">
                  <c:v>3.9388838125764382E-3</c:v>
                </c:pt>
                <c:pt idx="60">
                  <c:v>3.787332325945449E-3</c:v>
                </c:pt>
                <c:pt idx="61">
                  <c:v>3.6476151411236261E-3</c:v>
                </c:pt>
                <c:pt idx="62">
                  <c:v>3.4475373998594338E-3</c:v>
                </c:pt>
                <c:pt idx="63">
                  <c:v>3.0854409802432928E-3</c:v>
                </c:pt>
                <c:pt idx="64">
                  <c:v>3.055461947403896E-3</c:v>
                </c:pt>
                <c:pt idx="65">
                  <c:v>3.0528911770792565E-3</c:v>
                </c:pt>
                <c:pt idx="66">
                  <c:v>2.7863366135613388E-3</c:v>
                </c:pt>
                <c:pt idx="67">
                  <c:v>2.6888621045869478E-3</c:v>
                </c:pt>
                <c:pt idx="68">
                  <c:v>1.8629165514105564E-3</c:v>
                </c:pt>
                <c:pt idx="69">
                  <c:v>1.6508625317007062E-3</c:v>
                </c:pt>
                <c:pt idx="70">
                  <c:v>1.6363329121404466E-3</c:v>
                </c:pt>
                <c:pt idx="71">
                  <c:v>1.5045702201382832E-3</c:v>
                </c:pt>
                <c:pt idx="72">
                  <c:v>1.4934592781012061E-3</c:v>
                </c:pt>
                <c:pt idx="73">
                  <c:v>1.2947410175170107E-3</c:v>
                </c:pt>
                <c:pt idx="74">
                  <c:v>1.229089010699395E-3</c:v>
                </c:pt>
                <c:pt idx="75">
                  <c:v>1.152850222874118E-3</c:v>
                </c:pt>
                <c:pt idx="76">
                  <c:v>1.1215740169018982E-3</c:v>
                </c:pt>
                <c:pt idx="77">
                  <c:v>1.0809784720831341E-3</c:v>
                </c:pt>
                <c:pt idx="78">
                  <c:v>9.1595293809040444E-4</c:v>
                </c:pt>
                <c:pt idx="79">
                  <c:v>7.1466292914546144E-4</c:v>
                </c:pt>
                <c:pt idx="80">
                  <c:v>6.1940007184384986E-4</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006C6D"/>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lang="en-US"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Silk Hydration Lip balm FPS3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482908813210753E-2</c:v>
                </c:pt>
                <c:pt idx="1">
                  <c:v>5.7669913875772236E-2</c:v>
                </c:pt>
                <c:pt idx="2">
                  <c:v>5.1001046149208723E-2</c:v>
                </c:pt>
                <c:pt idx="3">
                  <c:v>4.524262085281025E-2</c:v>
                </c:pt>
                <c:pt idx="4">
                  <c:v>4.3479951143822318E-2</c:v>
                </c:pt>
                <c:pt idx="5">
                  <c:v>4.3459563522846467E-2</c:v>
                </c:pt>
                <c:pt idx="6">
                  <c:v>3.5574601152652673E-2</c:v>
                </c:pt>
                <c:pt idx="7">
                  <c:v>3.1147672587277204E-2</c:v>
                </c:pt>
                <c:pt idx="8">
                  <c:v>2.7937141641373491E-2</c:v>
                </c:pt>
                <c:pt idx="9">
                  <c:v>2.7189876909365873E-2</c:v>
                </c:pt>
                <c:pt idx="10">
                  <c:v>2.2656084371174601E-2</c:v>
                </c:pt>
                <c:pt idx="11">
                  <c:v>2.2624295923573189E-2</c:v>
                </c:pt>
                <c:pt idx="12">
                  <c:v>2.0297719424645245E-2</c:v>
                </c:pt>
                <c:pt idx="13">
                  <c:v>1.9412354297998813E-2</c:v>
                </c:pt>
                <c:pt idx="14">
                  <c:v>1.7282732520830121E-2</c:v>
                </c:pt>
                <c:pt idx="15">
                  <c:v>1.7242761439832891E-2</c:v>
                </c:pt>
                <c:pt idx="16">
                  <c:v>1.71195997836666E-2</c:v>
                </c:pt>
                <c:pt idx="17">
                  <c:v>1.5265376682592067E-2</c:v>
                </c:pt>
                <c:pt idx="18">
                  <c:v>1.480175713055774E-2</c:v>
                </c:pt>
                <c:pt idx="19">
                  <c:v>1.4614983307310796E-2</c:v>
                </c:pt>
                <c:pt idx="20">
                  <c:v>1.4039676866060575E-2</c:v>
                </c:pt>
                <c:pt idx="21">
                  <c:v>1.3473308207565413E-2</c:v>
                </c:pt>
                <c:pt idx="22">
                  <c:v>1.2433422912423447E-2</c:v>
                </c:pt>
                <c:pt idx="23">
                  <c:v>1.2203253455713766E-2</c:v>
                </c:pt>
                <c:pt idx="24">
                  <c:v>1.1995255157805917E-2</c:v>
                </c:pt>
                <c:pt idx="25">
                  <c:v>1.1971028823848534E-2</c:v>
                </c:pt>
                <c:pt idx="26">
                  <c:v>1.1744833036825346E-2</c:v>
                </c:pt>
                <c:pt idx="27">
                  <c:v>1.0836915132393349E-2</c:v>
                </c:pt>
                <c:pt idx="28">
                  <c:v>1.0518514283227746E-2</c:v>
                </c:pt>
                <c:pt idx="29">
                  <c:v>1.0320300086593438E-2</c:v>
                </c:pt>
                <c:pt idx="30">
                  <c:v>9.8839317239259594E-3</c:v>
                </c:pt>
                <c:pt idx="31">
                  <c:v>9.8549270857797508E-3</c:v>
                </c:pt>
                <c:pt idx="32">
                  <c:v>9.6990742603339404E-3</c:v>
                </c:pt>
                <c:pt idx="33">
                  <c:v>9.5918045080244409E-3</c:v>
                </c:pt>
                <c:pt idx="34">
                  <c:v>9.2634878951517747E-3</c:v>
                </c:pt>
                <c:pt idx="35">
                  <c:v>9.2447633440801164E-3</c:v>
                </c:pt>
                <c:pt idx="36">
                  <c:v>9.2428332653184484E-3</c:v>
                </c:pt>
                <c:pt idx="37">
                  <c:v>9.2176092315326853E-3</c:v>
                </c:pt>
                <c:pt idx="38">
                  <c:v>7.5440009429491644E-3</c:v>
                </c:pt>
                <c:pt idx="39">
                  <c:v>7.2016748989086445E-3</c:v>
                </c:pt>
                <c:pt idx="40">
                  <c:v>7.0072662954029667E-3</c:v>
                </c:pt>
                <c:pt idx="41">
                  <c:v>6.9172119409838572E-3</c:v>
                </c:pt>
                <c:pt idx="42">
                  <c:v>6.8364430297622849E-3</c:v>
                </c:pt>
                <c:pt idx="43">
                  <c:v>6.6441603482164241E-3</c:v>
                </c:pt>
                <c:pt idx="44">
                  <c:v>6.5583711524093459E-3</c:v>
                </c:pt>
                <c:pt idx="45">
                  <c:v>6.5045590779752799E-3</c:v>
                </c:pt>
                <c:pt idx="46">
                  <c:v>6.1308680580853953E-3</c:v>
                </c:pt>
                <c:pt idx="47">
                  <c:v>6.0396609855432959E-3</c:v>
                </c:pt>
                <c:pt idx="48">
                  <c:v>5.5487543241071312E-3</c:v>
                </c:pt>
                <c:pt idx="49">
                  <c:v>5.267242801920753E-3</c:v>
                </c:pt>
                <c:pt idx="50">
                  <c:v>5.2174398128177037E-3</c:v>
                </c:pt>
                <c:pt idx="51">
                  <c:v>5.027796912348551E-3</c:v>
                </c:pt>
                <c:pt idx="52">
                  <c:v>4.8355819113872298E-3</c:v>
                </c:pt>
                <c:pt idx="53">
                  <c:v>4.8061431790169945E-3</c:v>
                </c:pt>
                <c:pt idx="54">
                  <c:v>4.7066410638729817E-3</c:v>
                </c:pt>
                <c:pt idx="55">
                  <c:v>4.5877036114847919E-3</c:v>
                </c:pt>
                <c:pt idx="56">
                  <c:v>4.5189810255768011E-3</c:v>
                </c:pt>
                <c:pt idx="57">
                  <c:v>4.1603354841201938E-3</c:v>
                </c:pt>
                <c:pt idx="58">
                  <c:v>4.0996550546750872E-3</c:v>
                </c:pt>
                <c:pt idx="59">
                  <c:v>3.9317147134321244E-3</c:v>
                </c:pt>
                <c:pt idx="60">
                  <c:v>3.7802517937025808E-3</c:v>
                </c:pt>
                <c:pt idx="61">
                  <c:v>3.6461488322010655E-3</c:v>
                </c:pt>
                <c:pt idx="62">
                  <c:v>3.4493844833214759E-3</c:v>
                </c:pt>
                <c:pt idx="63">
                  <c:v>3.1284243210084532E-3</c:v>
                </c:pt>
                <c:pt idx="64">
                  <c:v>3.088382144875139E-3</c:v>
                </c:pt>
                <c:pt idx="65">
                  <c:v>3.0540762835527375E-3</c:v>
                </c:pt>
                <c:pt idx="66">
                  <c:v>2.7850255567319635E-3</c:v>
                </c:pt>
                <c:pt idx="67">
                  <c:v>2.6902081441484717E-3</c:v>
                </c:pt>
                <c:pt idx="68">
                  <c:v>1.8589756370614796E-3</c:v>
                </c:pt>
                <c:pt idx="69">
                  <c:v>1.645467266597946E-3</c:v>
                </c:pt>
                <c:pt idx="70">
                  <c:v>1.6342774430306974E-3</c:v>
                </c:pt>
                <c:pt idx="71">
                  <c:v>1.5052389871508328E-3</c:v>
                </c:pt>
                <c:pt idx="72">
                  <c:v>1.4852630193365813E-3</c:v>
                </c:pt>
                <c:pt idx="73">
                  <c:v>1.291329619165855E-3</c:v>
                </c:pt>
                <c:pt idx="74">
                  <c:v>1.2283516268154463E-3</c:v>
                </c:pt>
                <c:pt idx="75">
                  <c:v>1.1537060276739551E-3</c:v>
                </c:pt>
                <c:pt idx="76">
                  <c:v>1.1177840434332315E-3</c:v>
                </c:pt>
                <c:pt idx="77">
                  <c:v>1.0772704367970436E-3</c:v>
                </c:pt>
                <c:pt idx="78">
                  <c:v>9.16494493197482E-4</c:v>
                </c:pt>
                <c:pt idx="79">
                  <c:v>7.1426453765056008E-4</c:v>
                </c:pt>
                <c:pt idx="80">
                  <c:v>6.1956787042360538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006C6D"/>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r>
                      <a:rPr lang="en-US"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Hawaiian Tropic Silk Hydration Glow Mist FPS50+ 10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4535798883301395E-2</c:v>
                </c:pt>
                <c:pt idx="1">
                  <c:v>5.7720872920682086E-2</c:v>
                </c:pt>
                <c:pt idx="2">
                  <c:v>5.1035505642474374E-2</c:v>
                </c:pt>
                <c:pt idx="3">
                  <c:v>4.5297214290850832E-2</c:v>
                </c:pt>
                <c:pt idx="4">
                  <c:v>4.3502025840678284E-2</c:v>
                </c:pt>
                <c:pt idx="5">
                  <c:v>4.3471898493294164E-2</c:v>
                </c:pt>
                <c:pt idx="6">
                  <c:v>3.5597106768285473E-2</c:v>
                </c:pt>
                <c:pt idx="7">
                  <c:v>3.1152763945719926E-2</c:v>
                </c:pt>
                <c:pt idx="8">
                  <c:v>2.7949356357386216E-2</c:v>
                </c:pt>
                <c:pt idx="9">
                  <c:v>2.7207973333783417E-2</c:v>
                </c:pt>
                <c:pt idx="10">
                  <c:v>2.2690226499898741E-2</c:v>
                </c:pt>
                <c:pt idx="11">
                  <c:v>2.2644414218920089E-2</c:v>
                </c:pt>
                <c:pt idx="12">
                  <c:v>2.0327969730152901E-2</c:v>
                </c:pt>
                <c:pt idx="13">
                  <c:v>1.9423808795131805E-2</c:v>
                </c:pt>
                <c:pt idx="14">
                  <c:v>1.7289189774076997E-2</c:v>
                </c:pt>
                <c:pt idx="15">
                  <c:v>1.726828063027129E-2</c:v>
                </c:pt>
                <c:pt idx="16">
                  <c:v>1.7135535053078639E-2</c:v>
                </c:pt>
                <c:pt idx="17">
                  <c:v>1.5294775434790034E-2</c:v>
                </c:pt>
                <c:pt idx="18">
                  <c:v>1.4820130395797337E-2</c:v>
                </c:pt>
                <c:pt idx="19">
                  <c:v>1.4640353047997498E-2</c:v>
                </c:pt>
                <c:pt idx="20">
                  <c:v>1.405226379916808E-2</c:v>
                </c:pt>
                <c:pt idx="21">
                  <c:v>1.3495246160869718E-2</c:v>
                </c:pt>
                <c:pt idx="22">
                  <c:v>1.2454284180743477E-2</c:v>
                </c:pt>
                <c:pt idx="23">
                  <c:v>1.2207912219199047E-2</c:v>
                </c:pt>
                <c:pt idx="24">
                  <c:v>1.2003050851292409E-2</c:v>
                </c:pt>
                <c:pt idx="25">
                  <c:v>1.1984700162141841E-2</c:v>
                </c:pt>
                <c:pt idx="26">
                  <c:v>1.1767471263965332E-2</c:v>
                </c:pt>
                <c:pt idx="27">
                  <c:v>1.0854282396732116E-2</c:v>
                </c:pt>
                <c:pt idx="28">
                  <c:v>1.0546404653164063E-2</c:v>
                </c:pt>
                <c:pt idx="29">
                  <c:v>1.0343115955406159E-2</c:v>
                </c:pt>
                <c:pt idx="30">
                  <c:v>9.8956988825404744E-3</c:v>
                </c:pt>
                <c:pt idx="31">
                  <c:v>9.8831908503998339E-3</c:v>
                </c:pt>
                <c:pt idx="32">
                  <c:v>9.716134271154293E-3</c:v>
                </c:pt>
                <c:pt idx="33">
                  <c:v>9.5909365420467352E-3</c:v>
                </c:pt>
                <c:pt idx="34">
                  <c:v>9.2821729613242372E-3</c:v>
                </c:pt>
                <c:pt idx="35">
                  <c:v>9.251826643594533E-3</c:v>
                </c:pt>
                <c:pt idx="36">
                  <c:v>9.2481870629316735E-3</c:v>
                </c:pt>
                <c:pt idx="37">
                  <c:v>9.2392065955023191E-3</c:v>
                </c:pt>
                <c:pt idx="38">
                  <c:v>7.553556274227464E-3</c:v>
                </c:pt>
                <c:pt idx="39">
                  <c:v>7.2217546307663917E-3</c:v>
                </c:pt>
                <c:pt idx="40">
                  <c:v>7.0273583152601956E-3</c:v>
                </c:pt>
                <c:pt idx="41">
                  <c:v>6.9434310242310789E-3</c:v>
                </c:pt>
                <c:pt idx="42">
                  <c:v>6.8437657662395448E-3</c:v>
                </c:pt>
                <c:pt idx="43">
                  <c:v>6.6528595120784184E-3</c:v>
                </c:pt>
                <c:pt idx="44">
                  <c:v>6.5739425071652648E-3</c:v>
                </c:pt>
                <c:pt idx="45">
                  <c:v>6.5135942867116095E-3</c:v>
                </c:pt>
                <c:pt idx="46">
                  <c:v>6.1383838531141235E-3</c:v>
                </c:pt>
                <c:pt idx="47">
                  <c:v>6.0579252882831183E-3</c:v>
                </c:pt>
                <c:pt idx="48">
                  <c:v>5.5638311527614883E-3</c:v>
                </c:pt>
                <c:pt idx="49">
                  <c:v>5.2576361740359744E-3</c:v>
                </c:pt>
                <c:pt idx="50">
                  <c:v>5.2152838494298982E-3</c:v>
                </c:pt>
                <c:pt idx="51">
                  <c:v>5.0294382597160948E-3</c:v>
                </c:pt>
                <c:pt idx="52">
                  <c:v>4.8378391598491843E-3</c:v>
                </c:pt>
                <c:pt idx="53">
                  <c:v>4.8132428674289357E-3</c:v>
                </c:pt>
                <c:pt idx="54">
                  <c:v>4.7140900331897242E-3</c:v>
                </c:pt>
                <c:pt idx="55">
                  <c:v>4.6031084877950993E-3</c:v>
                </c:pt>
                <c:pt idx="56">
                  <c:v>4.5353758724743821E-3</c:v>
                </c:pt>
                <c:pt idx="57">
                  <c:v>4.1656874530065511E-3</c:v>
                </c:pt>
                <c:pt idx="58">
                  <c:v>4.1069441794026502E-3</c:v>
                </c:pt>
                <c:pt idx="59">
                  <c:v>3.9509002404723948E-3</c:v>
                </c:pt>
                <c:pt idx="60">
                  <c:v>3.7848996004548031E-3</c:v>
                </c:pt>
                <c:pt idx="61">
                  <c:v>3.6492790362622957E-3</c:v>
                </c:pt>
                <c:pt idx="62">
                  <c:v>3.451772818452077E-3</c:v>
                </c:pt>
                <c:pt idx="63">
                  <c:v>3.0895842319277416E-3</c:v>
                </c:pt>
                <c:pt idx="64">
                  <c:v>3.0546251082165647E-3</c:v>
                </c:pt>
                <c:pt idx="65">
                  <c:v>2.7891568903208341E-3</c:v>
                </c:pt>
                <c:pt idx="66">
                  <c:v>2.6881574962055082E-3</c:v>
                </c:pt>
                <c:pt idx="67">
                  <c:v>2.0711394486087778E-3</c:v>
                </c:pt>
                <c:pt idx="68">
                  <c:v>1.8656182466021088E-3</c:v>
                </c:pt>
                <c:pt idx="69">
                  <c:v>1.64906879366254E-3</c:v>
                </c:pt>
                <c:pt idx="70">
                  <c:v>1.6352166803877053E-3</c:v>
                </c:pt>
                <c:pt idx="71">
                  <c:v>1.5053560731684043E-3</c:v>
                </c:pt>
                <c:pt idx="72">
                  <c:v>1.4917381546967043E-3</c:v>
                </c:pt>
                <c:pt idx="73">
                  <c:v>1.2904189826196898E-3</c:v>
                </c:pt>
                <c:pt idx="74">
                  <c:v>1.2314456888632681E-3</c:v>
                </c:pt>
                <c:pt idx="75">
                  <c:v>1.154501090257983E-3</c:v>
                </c:pt>
                <c:pt idx="76">
                  <c:v>1.1207619230250972E-3</c:v>
                </c:pt>
                <c:pt idx="77">
                  <c:v>1.0832300278901938E-3</c:v>
                </c:pt>
                <c:pt idx="78">
                  <c:v>9.1703544958991691E-4</c:v>
                </c:pt>
                <c:pt idx="79">
                  <c:v>7.1650154984770733E-4</c:v>
                </c:pt>
                <c:pt idx="80">
                  <c:v>6.1925801255246615E-4</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99</c:v>
                </c:pt>
                <c:pt idx="1">
                  <c:v>99</c:v>
                </c:pt>
                <c:pt idx="2">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1.02849013697634</c:v>
                </c:pt>
                <c:pt idx="1">
                  <c:v>110.72750410082861</c:v>
                </c:pt>
                <c:pt idx="2">
                  <c:v>100.6964584456416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1.33537758851678</c:v>
                </c:pt>
                <c:pt idx="1">
                  <c:v>108.91485629565763</c:v>
                </c:pt>
                <c:pt idx="2">
                  <c:v>100.5825454923508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6.0872597085355883E-2</c:v>
                </c:pt>
                <c:pt idx="1">
                  <c:v>5.1769634758080635E-2</c:v>
                </c:pt>
                <c:pt idx="2">
                  <c:v>5.1287216933008369E-2</c:v>
                </c:pt>
                <c:pt idx="3">
                  <c:v>4.1830726720909379E-2</c:v>
                </c:pt>
                <c:pt idx="4">
                  <c:v>3.5846563190143114E-2</c:v>
                </c:pt>
                <c:pt idx="5">
                  <c:v>3.375950539595541E-2</c:v>
                </c:pt>
                <c:pt idx="6">
                  <c:v>2.8543600969109507E-2</c:v>
                </c:pt>
                <c:pt idx="7">
                  <c:v>2.2245365815905329E-2</c:v>
                </c:pt>
                <c:pt idx="8">
                  <c:v>2.531228839620376E-2</c:v>
                </c:pt>
                <c:pt idx="9">
                  <c:v>2.6505541978916889E-2</c:v>
                </c:pt>
                <c:pt idx="10">
                  <c:v>2.0167295863398049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385723875355558E-2</c:v>
                </c:pt>
                <c:pt idx="1">
                  <c:v>4.0936983353233175E-2</c:v>
                </c:pt>
                <c:pt idx="2">
                  <c:v>4.498337640272608E-2</c:v>
                </c:pt>
                <c:pt idx="3">
                  <c:v>3.9700926312715712E-2</c:v>
                </c:pt>
                <c:pt idx="4">
                  <c:v>2.870150441596174E-2</c:v>
                </c:pt>
                <c:pt idx="5">
                  <c:v>2.939201083427798E-2</c:v>
                </c:pt>
                <c:pt idx="6">
                  <c:v>2.7831637955557677E-2</c:v>
                </c:pt>
                <c:pt idx="7">
                  <c:v>2.4564970034208027E-2</c:v>
                </c:pt>
                <c:pt idx="8">
                  <c:v>1.819453092861309E-2</c:v>
                </c:pt>
                <c:pt idx="9">
                  <c:v>1.8832393584993539E-2</c:v>
                </c:pt>
                <c:pt idx="10">
                  <c:v>2.389722155608167E-2</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99</c:v>
                </c:pt>
                <c:pt idx="1">
                  <c:v>99</c:v>
                </c:pt>
                <c:pt idx="2">
                  <c:v>99</c:v>
                </c:pt>
                <c:pt idx="3">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0.59021347440658</c:v>
                </c:pt>
                <c:pt idx="1">
                  <c:v>101.73401161270806</c:v>
                </c:pt>
                <c:pt idx="2">
                  <c:v>100.37683361649556</c:v>
                </c:pt>
                <c:pt idx="3">
                  <c:v>101.2530514125173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2.79260473818215</c:v>
                </c:pt>
                <c:pt idx="1">
                  <c:v>105.45822260665823</c:v>
                </c:pt>
                <c:pt idx="2">
                  <c:v>101.93220378382645</c:v>
                </c:pt>
                <c:pt idx="3">
                  <c:v>105.15610316435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4.9059675658189784E-2</c:v>
                </c:pt>
                <c:pt idx="1">
                  <c:v>5.1176446649309378E-2</c:v>
                </c:pt>
                <c:pt idx="2">
                  <c:v>4.3342346614958727E-2</c:v>
                </c:pt>
                <c:pt idx="3">
                  <c:v>3.3608507360255051E-2</c:v>
                </c:pt>
                <c:pt idx="4">
                  <c:v>3.7397536930097751E-2</c:v>
                </c:pt>
                <c:pt idx="5">
                  <c:v>2.7758241150911373E-2</c:v>
                </c:pt>
                <c:pt idx="6">
                  <c:v>3.1172964951363565E-2</c:v>
                </c:pt>
                <c:pt idx="7">
                  <c:v>2.2499375512115075E-2</c:v>
                </c:pt>
                <c:pt idx="8">
                  <c:v>2.5024319177786865E-2</c:v>
                </c:pt>
                <c:pt idx="9">
                  <c:v>2.2368742499551442E-2</c:v>
                </c:pt>
                <c:pt idx="10">
                  <c:v>1.9611678211101474E-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006C6D"/>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7ECAC4"/>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r>
                      <a:rPr lang="en-US"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Advanced Protection Lotion FPS50+ 360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Nivea Sun Protect &amp; Refresh Sport Invisible Spray FPS50 200ml</c:v>
                </c:pt>
                <c:pt idx="17">
                  <c:v>Hawaiian Tropic Sheer Touch Lotion FPS30 24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2902696563217604E-2</c:v>
                </c:pt>
                <c:pt idx="1">
                  <c:v>5.6630509127297259E-2</c:v>
                </c:pt>
                <c:pt idx="2">
                  <c:v>4.9936740943821188E-2</c:v>
                </c:pt>
                <c:pt idx="3">
                  <c:v>4.4755762845946241E-2</c:v>
                </c:pt>
                <c:pt idx="4">
                  <c:v>4.2176116851182888E-2</c:v>
                </c:pt>
                <c:pt idx="5">
                  <c:v>4.1731319923749469E-2</c:v>
                </c:pt>
                <c:pt idx="6">
                  <c:v>3.3706068333904937E-2</c:v>
                </c:pt>
                <c:pt idx="7">
                  <c:v>3.0363668090319727E-2</c:v>
                </c:pt>
                <c:pt idx="8">
                  <c:v>2.6779876806918835E-2</c:v>
                </c:pt>
                <c:pt idx="9">
                  <c:v>2.6164416104421797E-2</c:v>
                </c:pt>
                <c:pt idx="10">
                  <c:v>2.2902034357684922E-2</c:v>
                </c:pt>
                <c:pt idx="11">
                  <c:v>2.2275396443576765E-2</c:v>
                </c:pt>
                <c:pt idx="12">
                  <c:v>2.2036516997081815E-2</c:v>
                </c:pt>
                <c:pt idx="13">
                  <c:v>1.9843970616742344E-2</c:v>
                </c:pt>
                <c:pt idx="14">
                  <c:v>1.894420717595607E-2</c:v>
                </c:pt>
                <c:pt idx="15">
                  <c:v>1.7135871823037819E-2</c:v>
                </c:pt>
                <c:pt idx="16">
                  <c:v>1.6840448858584996E-2</c:v>
                </c:pt>
                <c:pt idx="17">
                  <c:v>1.6787939975265297E-2</c:v>
                </c:pt>
                <c:pt idx="18">
                  <c:v>1.5113034678783461E-2</c:v>
                </c:pt>
                <c:pt idx="19">
                  <c:v>1.469089529183296E-2</c:v>
                </c:pt>
                <c:pt idx="20">
                  <c:v>1.4331332006337436E-2</c:v>
                </c:pt>
                <c:pt idx="21">
                  <c:v>1.3863142051431918E-2</c:v>
                </c:pt>
                <c:pt idx="22">
                  <c:v>1.3249671453159296E-2</c:v>
                </c:pt>
                <c:pt idx="23">
                  <c:v>1.2193855474078891E-2</c:v>
                </c:pt>
                <c:pt idx="24">
                  <c:v>1.2016338477234155E-2</c:v>
                </c:pt>
                <c:pt idx="25">
                  <c:v>1.1890542110341752E-2</c:v>
                </c:pt>
                <c:pt idx="26">
                  <c:v>1.1771670177805981E-2</c:v>
                </c:pt>
                <c:pt idx="27">
                  <c:v>1.1642339718564343E-2</c:v>
                </c:pt>
                <c:pt idx="28">
                  <c:v>1.0776043796204681E-2</c:v>
                </c:pt>
                <c:pt idx="29">
                  <c:v>1.0445451555638492E-2</c:v>
                </c:pt>
                <c:pt idx="30">
                  <c:v>1.022278626788393E-2</c:v>
                </c:pt>
                <c:pt idx="31">
                  <c:v>9.8064959956690335E-3</c:v>
                </c:pt>
                <c:pt idx="32">
                  <c:v>9.7450206900186846E-3</c:v>
                </c:pt>
                <c:pt idx="33">
                  <c:v>9.5754875764672183E-3</c:v>
                </c:pt>
                <c:pt idx="34">
                  <c:v>9.3637388663031437E-3</c:v>
                </c:pt>
                <c:pt idx="35">
                  <c:v>9.2146761267718185E-3</c:v>
                </c:pt>
                <c:pt idx="36">
                  <c:v>9.1649070939618764E-3</c:v>
                </c:pt>
                <c:pt idx="37">
                  <c:v>9.1260705283526915E-3</c:v>
                </c:pt>
                <c:pt idx="38">
                  <c:v>9.0884901947301325E-3</c:v>
                </c:pt>
                <c:pt idx="39">
                  <c:v>7.4498045104562129E-3</c:v>
                </c:pt>
                <c:pt idx="40">
                  <c:v>7.1646108884885311E-3</c:v>
                </c:pt>
                <c:pt idx="41">
                  <c:v>6.9252414679242744E-3</c:v>
                </c:pt>
                <c:pt idx="42">
                  <c:v>6.862113537492589E-3</c:v>
                </c:pt>
                <c:pt idx="43">
                  <c:v>6.8001331637889293E-3</c:v>
                </c:pt>
                <c:pt idx="44">
                  <c:v>6.5833476123778973E-3</c:v>
                </c:pt>
                <c:pt idx="45">
                  <c:v>6.492117934340986E-3</c:v>
                </c:pt>
                <c:pt idx="46">
                  <c:v>6.406379588858398E-3</c:v>
                </c:pt>
                <c:pt idx="47">
                  <c:v>6.0352459632930355E-3</c:v>
                </c:pt>
                <c:pt idx="48">
                  <c:v>5.9756640830342994E-3</c:v>
                </c:pt>
                <c:pt idx="49">
                  <c:v>5.4795632183837917E-3</c:v>
                </c:pt>
                <c:pt idx="50">
                  <c:v>5.166198323589449E-3</c:v>
                </c:pt>
                <c:pt idx="51">
                  <c:v>5.1460421165477029E-3</c:v>
                </c:pt>
                <c:pt idx="52">
                  <c:v>4.9484084069518807E-3</c:v>
                </c:pt>
                <c:pt idx="53">
                  <c:v>4.7480763756090824E-3</c:v>
                </c:pt>
                <c:pt idx="54">
                  <c:v>4.6408149680953071E-3</c:v>
                </c:pt>
                <c:pt idx="55">
                  <c:v>4.6398858998477508E-3</c:v>
                </c:pt>
                <c:pt idx="56">
                  <c:v>4.5295746495927257E-3</c:v>
                </c:pt>
                <c:pt idx="57">
                  <c:v>4.4782357718375441E-3</c:v>
                </c:pt>
                <c:pt idx="58">
                  <c:v>4.0913611404720185E-3</c:v>
                </c:pt>
                <c:pt idx="59">
                  <c:v>4.0604046377638219E-3</c:v>
                </c:pt>
                <c:pt idx="60">
                  <c:v>3.8997032300004705E-3</c:v>
                </c:pt>
                <c:pt idx="61">
                  <c:v>3.7592016307576325E-3</c:v>
                </c:pt>
                <c:pt idx="62">
                  <c:v>3.5737618876323885E-3</c:v>
                </c:pt>
                <c:pt idx="63">
                  <c:v>3.4028550133423366E-3</c:v>
                </c:pt>
                <c:pt idx="64">
                  <c:v>3.0207410873285844E-3</c:v>
                </c:pt>
                <c:pt idx="65">
                  <c:v>2.9884937202429296E-3</c:v>
                </c:pt>
                <c:pt idx="66">
                  <c:v>2.7667207756866727E-3</c:v>
                </c:pt>
                <c:pt idx="67">
                  <c:v>2.6770993922014996E-3</c:v>
                </c:pt>
                <c:pt idx="68">
                  <c:v>1.8526328014753127E-3</c:v>
                </c:pt>
                <c:pt idx="69">
                  <c:v>1.6413048509523285E-3</c:v>
                </c:pt>
                <c:pt idx="70">
                  <c:v>1.6150046548574393E-3</c:v>
                </c:pt>
                <c:pt idx="71">
                  <c:v>1.4827972271626467E-3</c:v>
                </c:pt>
                <c:pt idx="72">
                  <c:v>1.465708457961776E-3</c:v>
                </c:pt>
                <c:pt idx="73">
                  <c:v>1.2778729649721068E-3</c:v>
                </c:pt>
                <c:pt idx="74">
                  <c:v>1.1971447721517538E-3</c:v>
                </c:pt>
                <c:pt idx="75">
                  <c:v>1.1359343029434317E-3</c:v>
                </c:pt>
                <c:pt idx="76">
                  <c:v>1.1155725592433417E-3</c:v>
                </c:pt>
                <c:pt idx="77">
                  <c:v>1.0742914257065115E-3</c:v>
                </c:pt>
                <c:pt idx="78">
                  <c:v>9.0361949440726538E-4</c:v>
                </c:pt>
                <c:pt idx="79">
                  <c:v>7.1063984230039924E-4</c:v>
                </c:pt>
                <c:pt idx="80">
                  <c:v>6.1012367964522829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006C6D"/>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7ECAC4"/>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r>
                      <a:rPr lang="en-US"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Advanced Protection Lotion FPS50+ 360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Nivea Sun Protect &amp; Refresh Sport Invisible Spray FPS50 200ml</c:v>
                </c:pt>
                <c:pt idx="17">
                  <c:v>Hawaiian Tropic Sheer Touch Lotion FPS30 24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9.2902696563217604E-2</c:v>
                </c:pt>
                <c:pt idx="1">
                  <c:v>5.6630509127297259E-2</c:v>
                </c:pt>
                <c:pt idx="2">
                  <c:v>4.9936740943821188E-2</c:v>
                </c:pt>
                <c:pt idx="3">
                  <c:v>4.4755762845946241E-2</c:v>
                </c:pt>
                <c:pt idx="4">
                  <c:v>4.2176116851182888E-2</c:v>
                </c:pt>
                <c:pt idx="5">
                  <c:v>4.1731319923749469E-2</c:v>
                </c:pt>
                <c:pt idx="6">
                  <c:v>3.3706068333904937E-2</c:v>
                </c:pt>
                <c:pt idx="7">
                  <c:v>3.0363668090319727E-2</c:v>
                </c:pt>
                <c:pt idx="8">
                  <c:v>2.6779876806918835E-2</c:v>
                </c:pt>
                <c:pt idx="9">
                  <c:v>2.6164416104421797E-2</c:v>
                </c:pt>
                <c:pt idx="10">
                  <c:v>2.2902034357684922E-2</c:v>
                </c:pt>
                <c:pt idx="11">
                  <c:v>2.2275396443576765E-2</c:v>
                </c:pt>
                <c:pt idx="12">
                  <c:v>2.2036516997081815E-2</c:v>
                </c:pt>
                <c:pt idx="13">
                  <c:v>1.9843970616742344E-2</c:v>
                </c:pt>
                <c:pt idx="14">
                  <c:v>1.894420717595607E-2</c:v>
                </c:pt>
                <c:pt idx="15">
                  <c:v>1.7135871823037819E-2</c:v>
                </c:pt>
                <c:pt idx="16">
                  <c:v>1.6840448858584996E-2</c:v>
                </c:pt>
                <c:pt idx="17">
                  <c:v>1.6787939975265297E-2</c:v>
                </c:pt>
                <c:pt idx="18">
                  <c:v>1.5113034678783461E-2</c:v>
                </c:pt>
                <c:pt idx="19">
                  <c:v>1.469089529183296E-2</c:v>
                </c:pt>
                <c:pt idx="20">
                  <c:v>1.4331332006337436E-2</c:v>
                </c:pt>
                <c:pt idx="21">
                  <c:v>1.3863142051431918E-2</c:v>
                </c:pt>
                <c:pt idx="22">
                  <c:v>1.3249671453159296E-2</c:v>
                </c:pt>
                <c:pt idx="23">
                  <c:v>1.2193855474078891E-2</c:v>
                </c:pt>
                <c:pt idx="24">
                  <c:v>1.2016338477234155E-2</c:v>
                </c:pt>
                <c:pt idx="25">
                  <c:v>1.1890542110341752E-2</c:v>
                </c:pt>
                <c:pt idx="26">
                  <c:v>1.1771670177805981E-2</c:v>
                </c:pt>
                <c:pt idx="27">
                  <c:v>1.1642339718564343E-2</c:v>
                </c:pt>
                <c:pt idx="28">
                  <c:v>1.0776043796204681E-2</c:v>
                </c:pt>
                <c:pt idx="29">
                  <c:v>1.0445451555638492E-2</c:v>
                </c:pt>
                <c:pt idx="30">
                  <c:v>1.022278626788393E-2</c:v>
                </c:pt>
                <c:pt idx="31">
                  <c:v>9.8064959956690335E-3</c:v>
                </c:pt>
                <c:pt idx="32">
                  <c:v>9.7450206900186846E-3</c:v>
                </c:pt>
                <c:pt idx="33">
                  <c:v>9.5754875764672183E-3</c:v>
                </c:pt>
                <c:pt idx="34">
                  <c:v>9.3637388663031437E-3</c:v>
                </c:pt>
                <c:pt idx="35">
                  <c:v>9.2146761267718185E-3</c:v>
                </c:pt>
                <c:pt idx="36">
                  <c:v>9.1649070939618764E-3</c:v>
                </c:pt>
                <c:pt idx="37">
                  <c:v>9.1260705283526915E-3</c:v>
                </c:pt>
                <c:pt idx="38">
                  <c:v>9.0884901947301325E-3</c:v>
                </c:pt>
                <c:pt idx="39">
                  <c:v>7.4498045104562129E-3</c:v>
                </c:pt>
                <c:pt idx="40">
                  <c:v>7.1646108884885311E-3</c:v>
                </c:pt>
                <c:pt idx="41">
                  <c:v>6.9252414679242744E-3</c:v>
                </c:pt>
                <c:pt idx="42">
                  <c:v>6.862113537492589E-3</c:v>
                </c:pt>
                <c:pt idx="43">
                  <c:v>6.8001331637889293E-3</c:v>
                </c:pt>
                <c:pt idx="44">
                  <c:v>6.5833476123778973E-3</c:v>
                </c:pt>
                <c:pt idx="45">
                  <c:v>6.492117934340986E-3</c:v>
                </c:pt>
                <c:pt idx="46">
                  <c:v>6.406379588858398E-3</c:v>
                </c:pt>
                <c:pt idx="47">
                  <c:v>6.0352459632930355E-3</c:v>
                </c:pt>
                <c:pt idx="48">
                  <c:v>5.9756640830342994E-3</c:v>
                </c:pt>
                <c:pt idx="49">
                  <c:v>5.4795632183837917E-3</c:v>
                </c:pt>
                <c:pt idx="50">
                  <c:v>5.166198323589449E-3</c:v>
                </c:pt>
                <c:pt idx="51">
                  <c:v>5.1460421165477029E-3</c:v>
                </c:pt>
                <c:pt idx="52">
                  <c:v>4.9484084069518807E-3</c:v>
                </c:pt>
                <c:pt idx="53">
                  <c:v>4.7480763756090824E-3</c:v>
                </c:pt>
                <c:pt idx="54">
                  <c:v>4.6408149680953071E-3</c:v>
                </c:pt>
                <c:pt idx="55">
                  <c:v>4.6398858998477508E-3</c:v>
                </c:pt>
                <c:pt idx="56">
                  <c:v>4.5295746495927257E-3</c:v>
                </c:pt>
                <c:pt idx="57">
                  <c:v>4.4782357718375441E-3</c:v>
                </c:pt>
                <c:pt idx="58">
                  <c:v>4.0913611404720185E-3</c:v>
                </c:pt>
                <c:pt idx="59">
                  <c:v>4.0604046377638219E-3</c:v>
                </c:pt>
                <c:pt idx="60">
                  <c:v>3.8997032300004705E-3</c:v>
                </c:pt>
                <c:pt idx="61">
                  <c:v>3.7592016307576325E-3</c:v>
                </c:pt>
                <c:pt idx="62">
                  <c:v>3.5737618876323885E-3</c:v>
                </c:pt>
                <c:pt idx="63">
                  <c:v>3.4028550133423366E-3</c:v>
                </c:pt>
                <c:pt idx="64">
                  <c:v>3.0207410873285844E-3</c:v>
                </c:pt>
                <c:pt idx="65">
                  <c:v>2.9884937202429296E-3</c:v>
                </c:pt>
                <c:pt idx="66">
                  <c:v>2.7667207756866727E-3</c:v>
                </c:pt>
                <c:pt idx="67">
                  <c:v>2.6770993922014996E-3</c:v>
                </c:pt>
                <c:pt idx="68">
                  <c:v>1.8526328014753127E-3</c:v>
                </c:pt>
                <c:pt idx="69">
                  <c:v>1.6413048509523285E-3</c:v>
                </c:pt>
                <c:pt idx="70">
                  <c:v>1.6150046548574393E-3</c:v>
                </c:pt>
                <c:pt idx="71">
                  <c:v>1.4827972271626467E-3</c:v>
                </c:pt>
                <c:pt idx="72">
                  <c:v>1.465708457961776E-3</c:v>
                </c:pt>
                <c:pt idx="73">
                  <c:v>1.2778729649721068E-3</c:v>
                </c:pt>
                <c:pt idx="74">
                  <c:v>1.1971447721517538E-3</c:v>
                </c:pt>
                <c:pt idx="75">
                  <c:v>1.1359343029434317E-3</c:v>
                </c:pt>
                <c:pt idx="76">
                  <c:v>1.1155725592433417E-3</c:v>
                </c:pt>
                <c:pt idx="77">
                  <c:v>1.0742914257065115E-3</c:v>
                </c:pt>
                <c:pt idx="78">
                  <c:v>9.0361949440726538E-4</c:v>
                </c:pt>
                <c:pt idx="79">
                  <c:v>7.1063984230039924E-4</c:v>
                </c:pt>
                <c:pt idx="80">
                  <c:v>6.1012367964522829E-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01.2462205857488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05.9039401787603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8.5389881146745797E-2</c:v>
                </c:pt>
                <c:pt idx="1">
                  <c:v>7.9383082531765223E-2</c:v>
                </c:pt>
                <c:pt idx="2">
                  <c:v>7.5744875873584805E-2</c:v>
                </c:pt>
                <c:pt idx="3">
                  <c:v>6.2522941177490604E-2</c:v>
                </c:pt>
                <c:pt idx="4">
                  <c:v>5.2141079316675575E-2</c:v>
                </c:pt>
                <c:pt idx="5">
                  <c:v>5.1529563654607938E-2</c:v>
                </c:pt>
                <c:pt idx="6">
                  <c:v>5.0487038350671462E-2</c:v>
                </c:pt>
                <c:pt idx="7">
                  <c:v>4.6931726037380939E-2</c:v>
                </c:pt>
                <c:pt idx="8">
                  <c:v>3.6718341125958211E-2</c:v>
                </c:pt>
                <c:pt idx="9">
                  <c:v>2.8103613350529199E-2</c:v>
                </c:pt>
                <c:pt idx="10">
                  <c:v>2.6681444135648526E-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C2967-C2F9-638D-97F3-E6F4F277AC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887ECA-EAA8-019F-F68F-674526B9EE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84A153-A6E8-A0D8-951E-E765ADD59C73}"/>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8497A44D-6BF4-8803-0751-589034E2BFA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1417955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F1F912-6608-3E98-764D-A624A5118C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D508DA-81B8-4E0F-D24A-FBE413AEC9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1B50C1-CE99-0255-4EAE-867F2D0ADD9C}"/>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3923E039-C687-9A4C-62F3-B1EF1676652E}"/>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18677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1.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2.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3.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oleObject" Target="../embeddings/oleObject28.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2.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oleObject" Target="../embeddings/oleObject28.bin"/><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0.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45.xml"/><Relationship Id="rId5" Type="http://schemas.openxmlformats.org/officeDocument/2006/relationships/chart" Target="../charts/chart44.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47.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49.xml"/><Relationship Id="rId5" Type="http://schemas.openxmlformats.org/officeDocument/2006/relationships/chart" Target="../charts/chart4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oleObject" Target="../embeddings/oleObject28.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6.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7.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8.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9.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10.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6FC853-17E6-27E8-C6C6-336F220797D1}"/>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80C2324-E447-B5BD-B8E7-6EE757E33F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E6CFB631-8C36-5EC9-6CA0-C372E18719C9}"/>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9DB97110-8D36-8F51-9055-B4D313EF31A6}"/>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DD88B28F-91A4-086B-82BD-AD37254F6AD2}"/>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1/2025</a:t>
            </a:fld>
            <a:endParaRPr lang="en-US"/>
          </a:p>
        </p:txBody>
      </p:sp>
      <p:sp>
        <p:nvSpPr>
          <p:cNvPr id="19" name="Slide Number Placeholder 18">
            <a:extLst>
              <a:ext uri="{FF2B5EF4-FFF2-40B4-BE49-F238E27FC236}">
                <a16:creationId xmlns:a16="http://schemas.microsoft.com/office/drawing/2014/main" id="{15539D59-5A8E-79DC-0C5B-F44E04C30611}"/>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619A953B-B57B-E5CC-7E5F-A016FB59CB10}"/>
              </a:ext>
            </a:extLst>
          </p:cNvPr>
          <p:cNvGraphicFramePr>
            <a:graphicFrameLocks noGrp="1"/>
          </p:cNvGraphicFramePr>
          <p:nvPr/>
        </p:nvGraphicFramePr>
        <p:xfrm>
          <a:off x="503238" y="1049315"/>
          <a:ext cx="8243580" cy="4015890"/>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204974">
                <a:tc>
                  <a:txBody>
                    <a:bodyPr/>
                    <a:lstStyle/>
                    <a:p>
                      <a:pPr algn="ctr">
                        <a:defRPr sz="800">
                          <a:latin typeface="Nexa Book"/>
                        </a:defRPr>
                      </a:pPr>
                      <a:r>
                        <a:rPr sz="700"/>
                        <a:t>Hawaiian Tropic Ozono Lotion FPS50+ 3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204974">
                <a:tc>
                  <a:txBody>
                    <a:bodyPr/>
                    <a:lstStyle/>
                    <a:p>
                      <a:pPr algn="ctr">
                        <a:defRPr sz="800">
                          <a:latin typeface="Nexa Book"/>
                        </a:defRPr>
                      </a:pPr>
                      <a:r>
                        <a:rPr sz="700"/>
                        <a:t>Hawaiian Tropic Ozono Stick FPS50+ 42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204974">
                <a:tc>
                  <a:txBody>
                    <a:bodyPr/>
                    <a:lstStyle/>
                    <a:p>
                      <a:pPr algn="ctr">
                        <a:defRPr sz="800">
                          <a:latin typeface="Nexa Book"/>
                        </a:defRPr>
                      </a:pPr>
                      <a:r>
                        <a:rPr sz="700"/>
                        <a:t>Hawaiian Tropic Ozono Ultra-Light FPS50+ 1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204974">
                <a:tc>
                  <a:txBody>
                    <a:bodyPr/>
                    <a:lstStyle/>
                    <a:p>
                      <a:pPr algn="ctr">
                        <a:defRPr sz="800">
                          <a:latin typeface="Nexa Book"/>
                        </a:defRPr>
                      </a:pPr>
                      <a:r>
                        <a:rPr sz="700"/>
                        <a:t>Hawaiian Tropic Silk Hydration Serum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204974">
                <a:tc>
                  <a:txBody>
                    <a:bodyPr/>
                    <a:lstStyle/>
                    <a:p>
                      <a:pPr algn="ctr">
                        <a:defRPr sz="800">
                          <a:latin typeface="Nexa Book"/>
                        </a:defRPr>
                      </a:pPr>
                      <a:r>
                        <a:rPr sz="700"/>
                        <a:t>Hawaiian Tropic Silk Hydration Lip balm FPS3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204974">
                <a:tc>
                  <a:txBody>
                    <a:bodyPr/>
                    <a:lstStyle/>
                    <a:p>
                      <a:pPr algn="ctr">
                        <a:defRPr sz="800">
                          <a:latin typeface="Nexa Book"/>
                        </a:defRPr>
                      </a:pPr>
                      <a:r>
                        <a:rPr sz="700"/>
                        <a:t>Hawaiian Tropic Silk Hydration Glow Mist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204974">
                <a:tc>
                  <a:txBody>
                    <a:bodyPr/>
                    <a:lstStyle/>
                    <a:p>
                      <a:pPr algn="ctr">
                        <a:defRPr sz="800">
                          <a:latin typeface="Nexa Book"/>
                        </a:defRPr>
                      </a:pPr>
                      <a:r>
                        <a:rPr sz="700"/>
                        <a:t>Beautycare Glow Stick FPS50 2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204974">
                <a:tc>
                  <a:txBody>
                    <a:bodyPr/>
                    <a:lstStyle/>
                    <a:p>
                      <a:pPr algn="ctr">
                        <a:defRPr sz="800">
                          <a:latin typeface="Nexa Book"/>
                        </a:defRPr>
                      </a:pPr>
                      <a:r>
                        <a:rPr sz="700"/>
                        <a:t>Beautycare Glow Serum FPS50 3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204974">
                <a:tc>
                  <a:txBody>
                    <a:bodyPr/>
                    <a:lstStyle/>
                    <a:p>
                      <a:pPr algn="ctr">
                        <a:defRPr sz="800">
                          <a:latin typeface="Nexa Book"/>
                        </a:defRPr>
                      </a:pPr>
                      <a:r>
                        <a:rPr sz="700"/>
                        <a:t>Beautycare Pro Age Color Face Fluid FPS50+ 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204974">
                <a:tc>
                  <a:txBody>
                    <a:bodyPr/>
                    <a:lstStyle/>
                    <a:p>
                      <a:pPr algn="ctr">
                        <a:defRPr sz="800">
                          <a:latin typeface="Nexa Book"/>
                        </a:defRPr>
                      </a:pPr>
                      <a:r>
                        <a:rPr sz="700"/>
                        <a:t>Beautycare Glow Lip Oil FPS5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204974">
                <a:tc>
                  <a:txBody>
                    <a:bodyPr/>
                    <a:lstStyle/>
                    <a:p>
                      <a:pPr algn="ctr">
                        <a:defRPr sz="800">
                          <a:latin typeface="Nexa Book"/>
                        </a:defRPr>
                      </a:pPr>
                      <a:r>
                        <a:rPr sz="700"/>
                        <a:t>Banana Boat Aqua Protect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204974">
                <a:tc>
                  <a:txBody>
                    <a:bodyPr/>
                    <a:lstStyle/>
                    <a:p>
                      <a:pPr algn="ctr">
                        <a:defRPr sz="800">
                          <a:latin typeface="Nexa Book"/>
                        </a:defRPr>
                      </a:pPr>
                      <a:r>
                        <a:rPr sz="700"/>
                        <a:t>Banana Boat Advanced Protection Lotion FPS50+ 36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204974">
                <a:tc>
                  <a:txBody>
                    <a:bodyPr/>
                    <a:lstStyle/>
                    <a:p>
                      <a:pPr algn="ctr">
                        <a:defRPr sz="800">
                          <a:latin typeface="Nexa Book"/>
                        </a:defRPr>
                      </a:pPr>
                      <a:r>
                        <a:rPr sz="700"/>
                        <a:t>Banana Boat Dry Balance Sport Stick FPS50+ 4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204974">
                <a:tc>
                  <a:txBody>
                    <a:bodyPr/>
                    <a:lstStyle/>
                    <a:p>
                      <a:pPr algn="ctr">
                        <a:defRPr sz="800">
                          <a:latin typeface="Nexa Book"/>
                        </a:defRPr>
                      </a:pPr>
                      <a:r>
                        <a:rPr sz="700"/>
                        <a:t>Banana Boat Kids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204974">
                <a:tc>
                  <a:txBody>
                    <a:bodyPr/>
                    <a:lstStyle/>
                    <a:p>
                      <a:pPr algn="ctr">
                        <a:defRPr sz="800">
                          <a:latin typeface="Nexa Book"/>
                        </a:defRPr>
                      </a:pPr>
                      <a:r>
                        <a:rPr sz="700"/>
                        <a:t>Banana Boat Dry Balance Sport Aerosol FPS50+ 2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204974">
                <a:tc>
                  <a:txBody>
                    <a:bodyPr/>
                    <a:lstStyle/>
                    <a:p>
                      <a:pPr algn="ctr">
                        <a:defRPr sz="800">
                          <a:latin typeface="Nexa Book"/>
                        </a:defRPr>
                      </a:pPr>
                      <a:r>
                        <a:rPr sz="700"/>
                        <a:t>Banana Boat Sport Lotion FPS50+ 354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204974">
                <a:tc>
                  <a:txBody>
                    <a:bodyPr/>
                    <a:lstStyle/>
                    <a:p>
                      <a:pPr algn="ctr">
                        <a:defRPr sz="800">
                          <a:latin typeface="Nexa Book"/>
                        </a:defRPr>
                      </a:pPr>
                      <a:r>
                        <a:rPr sz="700"/>
                        <a:t>Banana Boat Baby Lotion FPS50+ 177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5A04F8E1-7A66-ECFC-9E2B-622F6423EE8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1438035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2EBD3-47E7-6D0E-AABE-BCA468E05013}"/>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F9292D8-2E0C-BF35-5462-70CC98E8479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CF4D92E-1556-A598-D15F-5546CD04B27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6C843D4E-587F-3FF2-9F75-FFB9605BFF3C}"/>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624FEF93-47F5-7676-5123-593D092E6B7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CBDEA418-8D97-01CB-7559-CB812060BB9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E402CAB8-CC60-9E24-1D97-3C7277CDF7D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DA98F175-BCFE-F471-697B-DFFF54F85D34}"/>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C165EB98-D799-C9B2-503C-5D6D057D9F69}"/>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CCF7FA95-1F79-5974-4CD4-8AD73ED6B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2B888676-40CF-25E9-76F6-BE1361EF49AF}"/>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8FEA90-93F8-00AB-8ACD-CBE3A1255DDC}"/>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736756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3039-94FB-ED08-606F-1FD962F31AE8}"/>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C21626A-C45E-031E-4778-DA104006CED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05812F14-E86D-999C-E03F-C7C3B33AC214}"/>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A4A011B6-DA42-5D5A-1FB9-69E48A346D80}"/>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F8382B65-6C2D-4CF3-D786-6D16F45D9A4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D3D31278-7184-8ECA-21A1-26922E0013C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03A1A441-9128-A85E-354F-94C37BFD2EBC}"/>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A12194C8-5EE8-5444-DC6E-4629824F9B3B}"/>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F99BAB39-F2E6-881E-F6FE-6BE3F673E4CD}"/>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6DFF1879-5CD5-3801-C39C-A9D5B989C175}"/>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18E85B95-CB43-BDC1-25AE-5A606B9A50F1}"/>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5346290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CCAD7-163D-C583-0759-B81B86365212}"/>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8650872-220B-B08D-B130-E0343B8A5B4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DDBAF2E0-D16E-9ACE-4F33-EC7AB1D7954B}"/>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53EAF8F7-6978-DA9B-9D5C-661C68E73DD7}"/>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60BDECFE-4FFD-CDA9-DF10-EB2B0F83B6C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513DE904-281C-4D99-47DB-80D85DC997B2}"/>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7FE54ABF-5935-88C2-FDCC-CED000A4129C}"/>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8C3B084-5CA3-A967-5E83-493EB7D2E9E8}"/>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8CF92544-2503-DBCE-D322-1FE4BA41833F}"/>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8CBDFA7-ED23-9228-C7C7-AD9B8A1B12ED}"/>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587587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5A0ADC-D1F9-0148-8983-1ED47AD0C6DF}"/>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1E58C7A-246E-FB86-6055-70F7EBD3FE6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1F4C635-005E-5E9D-78B2-F7B640B42907}"/>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134E7DB-DB41-26CF-A72A-001081F68B90}"/>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ACC5715D-4754-EA2A-9041-E92E3BC67D6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A4203A83-C08B-1E7C-D340-C962D0B41AE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F62F4E52-B1F8-707B-3612-E305A7C107D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F954FF5-868D-2984-AF23-4DBA8DF0E80B}"/>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63694F9E-B01E-6FD6-E7C0-4B6CA92D732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7730EDEA-51CA-7CBE-1DA5-5F50C759A61B}"/>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8B0AAB32-908D-554F-44B0-9D462843DCDD}"/>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7DAD145B-3EC7-2890-8AF4-2E723C8FCAB1}"/>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03816A3B-FAB3-F1F0-FD52-1DFA0032087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51C7AB30-1216-9491-F3DD-C4CFEA001EA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0F90EAD1-2E4E-29CD-01D9-5F8FF09B0242}"/>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133562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45FF8-8562-0160-BB2B-A4C68D5F0863}"/>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96E7CE6-385E-2B1D-631E-98E6DFEE92C0}"/>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D61D933D-8972-E1C8-F8F3-CB8946D35C5F}"/>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C9AC4962-404C-5B48-94E0-38B9BC9DF026}"/>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5B9727FE-C155-CC48-485A-376971EBA51C}"/>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B1F7C5B8-6775-BE76-00D9-3FD31115828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B9557370-C005-CCE5-2FEE-BFC34470282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DA2B8BF3-52A7-7E3E-3DED-3B3F5832D67F}"/>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DAF80B11-29A4-130F-4227-5F602FF4DBE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819456B4-E5F3-74F9-0D58-72ED830AE72B}"/>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17E622EC-AEC3-B1B9-722F-C35FD067E15E}"/>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AC569ABB-089A-C897-4198-1452A781ADD7}"/>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0E0C17B-4B5A-2EA8-AF6F-743582E741E1}"/>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DCCAA58C-1688-ADE2-71C8-2FC668D94EFD}"/>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73E89E8D-D2B6-4672-2CC8-7E957DE6166A}"/>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640896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2AB38-5A6A-7693-740C-ABE02AC88A61}"/>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3B8DC7A-22EC-7844-7119-1A81C65D607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30E904F-1F51-5AD7-412E-41A328706163}"/>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1CCC6EE-17BA-A137-BDA6-1E4107DB09CF}"/>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BCDFFB5D-0C23-AACD-C0F0-9CDB94C59AC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3068AA4D-5552-F93D-004C-790C6AD342D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89F73352-7EAB-7478-9CCA-6E9BB38C7221}"/>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B1980266-6C46-23ED-E998-BD104A8553C4}"/>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7E8BEA75-817C-A4B2-F999-C6BA33C0A8B3}"/>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5FD16A0B-B19E-F0F1-A094-2379876A064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BC422B32-D30A-B864-5D68-1E3C3E8D0A32}"/>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7200819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4757B-367F-D40B-4044-0E01F39FDF9C}"/>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7E566A3-EFC8-7522-F664-EF3A364C4F3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7D2BB582-AC47-0166-BF26-20B6E2174176}"/>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EC859AA7-2C8B-92B5-7D45-0E4BCB1E9BD7}"/>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D6857D2C-5C25-258E-F4DD-423AB51290D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6D288776-3D8D-5C79-4C5C-1906B9FBF5B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90E8BF15-ADA1-5174-ED95-9B9CE6FA3C19}"/>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BF0FBFE8-D893-63B9-5E58-10767D874A62}"/>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AF5A63BF-5AA8-2D0B-7F8D-E528BF20AA6B}"/>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254EB916-F98E-BEDB-F297-F4220B2D00DD}"/>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369ECEF9-CEF3-B9B0-269F-1593D8EAEF97}"/>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AA79F368-2BF9-2833-CD71-ADECE05F99CD}"/>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FAF01949-2FB6-3AB6-BF1A-53BA2DDFA647}"/>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46649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CBF8CA-E4AE-B54A-7251-2D537B4D4BD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CDFFFD1-D406-3961-DA12-421408FCDB5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1977620-4DD9-8053-057D-D6F5D6EEE99F}"/>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A9FDD5D8-22D2-8A43-361B-9A9288E1F35C}"/>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8D71A6A0-94E0-1490-2DB7-F733EBFA670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0" name="Content Placeholder 9">
            <a:extLst>
              <a:ext uri="{FF2B5EF4-FFF2-40B4-BE49-F238E27FC236}">
                <a16:creationId xmlns:a16="http://schemas.microsoft.com/office/drawing/2014/main" id="{7BC93DD3-BD21-897E-5056-A3654B0D0AB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6922294E-EBC2-56D4-BFC4-D757D04EB91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EA67DB52-5F2B-3264-74A6-63A1919A00D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874EF922-D25C-36D6-AA9C-9380E5B2B352}"/>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7C1E5473-2670-08D7-CE9D-E487CDD01EF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C3E66E4-D516-D2E1-E305-C1EAA51573C3}"/>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970D071E-7F66-3E58-E662-841468A9B7B6}"/>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033372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C0F47-8544-39C1-8E02-548154BEE4D8}"/>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DEA7CC6-10D0-310A-5D46-36E9C2B5C0EF}"/>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E0D9EF8-A4BB-D752-3C8B-8F291FF2115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7E41FE6A-65A5-5203-59DA-C5906F59FCED}"/>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6B5A1ADA-E85A-69C9-1CCB-10180782C1C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0" name="Content Placeholder 9">
            <a:extLst>
              <a:ext uri="{FF2B5EF4-FFF2-40B4-BE49-F238E27FC236}">
                <a16:creationId xmlns:a16="http://schemas.microsoft.com/office/drawing/2014/main" id="{ECC0DD3F-664C-F3E2-D02C-8B3E5155C67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30A301B6-628F-F871-3E9A-2FA5458E788C}"/>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53439651-EF18-4AA7-1E9A-680BDCEDDFF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5AA599F-59A2-EAE6-5A3E-79248A6965B9}"/>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C4851579-0731-E860-47BA-5DF47B1DD68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212BCF52-81C3-DDCE-9A38-2CDC6D995D49}"/>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10F8F0A2-B679-9E1C-9E65-CF0ED9EF26F7}"/>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936444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A5DCE-2DBF-FC25-83A2-ECE222DBFF0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10BB127-7DF7-DF0A-5920-20246C6AC93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E10E3C0F-4E48-B757-19CE-BE38FE0D1C63}"/>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137CBE1A-9779-7637-86C9-46BC8C45334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9B031E4-E336-A009-DDF0-C589E14574D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dirty="0"/>
          </a:p>
        </p:txBody>
      </p:sp>
      <p:sp>
        <p:nvSpPr>
          <p:cNvPr id="8" name="Text Placeholder 7">
            <a:extLst>
              <a:ext uri="{FF2B5EF4-FFF2-40B4-BE49-F238E27FC236}">
                <a16:creationId xmlns:a16="http://schemas.microsoft.com/office/drawing/2014/main" id="{6BBE329E-5530-1447-51C0-C0052C26ACC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3AB2FBBC-041C-0841-6C6A-FE3B67C5CA05}"/>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D58CA058-F7D4-DE96-51A0-55B4CAF0FFF7}"/>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C83841B4-20B0-D17E-2427-2EED57CDD1FB}"/>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C3943E1B-F4B6-25FA-4DC5-5C894DB2E0E9}"/>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5B30F923-E065-5493-817F-4FA4EEE1DA38}"/>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07311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AB9BD-269F-501D-04F1-F13311D4FDF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095C712-24B0-18D5-B755-42573A6DC3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05EFCE43-0071-D341-5CB6-80192F3F71AB}"/>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52A9CFCE-0854-0654-DE48-DD198DE5D8D6}"/>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868E6680-1941-CF64-2C7C-29F6C926BF7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1/2025</a:t>
            </a:fld>
            <a:endParaRPr lang="en-US"/>
          </a:p>
        </p:txBody>
      </p:sp>
      <p:sp>
        <p:nvSpPr>
          <p:cNvPr id="19" name="Slide Number Placeholder 18">
            <a:extLst>
              <a:ext uri="{FF2B5EF4-FFF2-40B4-BE49-F238E27FC236}">
                <a16:creationId xmlns:a16="http://schemas.microsoft.com/office/drawing/2014/main" id="{BA95C7C8-B884-28A9-4800-2C1EEF8D3F9E}"/>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61CAC532-E2EE-A257-4E0F-5EAD10490796}"/>
              </a:ext>
            </a:extLst>
          </p:cNvPr>
          <p:cNvGraphicFramePr>
            <a:graphicFrameLocks noGrp="1"/>
          </p:cNvGraphicFramePr>
          <p:nvPr/>
        </p:nvGraphicFramePr>
        <p:xfrm>
          <a:off x="503238" y="1049315"/>
          <a:ext cx="8243580" cy="4015890"/>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204974">
                <a:tc>
                  <a:txBody>
                    <a:bodyPr/>
                    <a:lstStyle/>
                    <a:p>
                      <a:pPr algn="ctr">
                        <a:defRPr sz="800">
                          <a:latin typeface="Nexa Book"/>
                        </a:defRPr>
                      </a:pPr>
                      <a:r>
                        <a:rPr sz="700"/>
                        <a:t>Hawaiian Tropic Ozono Lotion FPS50+ 3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204974">
                <a:tc>
                  <a:txBody>
                    <a:bodyPr/>
                    <a:lstStyle/>
                    <a:p>
                      <a:pPr algn="ctr">
                        <a:defRPr sz="800">
                          <a:latin typeface="Nexa Book"/>
                        </a:defRPr>
                      </a:pPr>
                      <a:r>
                        <a:rPr sz="700"/>
                        <a:t>Hawaiian Tropic Ozono Stick FPS50+ 42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204974">
                <a:tc>
                  <a:txBody>
                    <a:bodyPr/>
                    <a:lstStyle/>
                    <a:p>
                      <a:pPr algn="ctr">
                        <a:defRPr sz="800">
                          <a:latin typeface="Nexa Book"/>
                        </a:defRPr>
                      </a:pPr>
                      <a:r>
                        <a:rPr sz="700"/>
                        <a:t>Hawaiian Tropic Ozono Ultra-Light FPS50+ 1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204974">
                <a:tc>
                  <a:txBody>
                    <a:bodyPr/>
                    <a:lstStyle/>
                    <a:p>
                      <a:pPr algn="ctr">
                        <a:defRPr sz="800">
                          <a:latin typeface="Nexa Book"/>
                        </a:defRPr>
                      </a:pPr>
                      <a:r>
                        <a:rPr sz="700"/>
                        <a:t>Hawaiian Tropic Silk Hydration Serum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204974">
                <a:tc>
                  <a:txBody>
                    <a:bodyPr/>
                    <a:lstStyle/>
                    <a:p>
                      <a:pPr algn="ctr">
                        <a:defRPr sz="800">
                          <a:latin typeface="Nexa Book"/>
                        </a:defRPr>
                      </a:pPr>
                      <a:r>
                        <a:rPr sz="700"/>
                        <a:t>Hawaiian Tropic Silk Hydration Lip balm FPS3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204974">
                <a:tc>
                  <a:txBody>
                    <a:bodyPr/>
                    <a:lstStyle/>
                    <a:p>
                      <a:pPr algn="ctr">
                        <a:defRPr sz="800">
                          <a:latin typeface="Nexa Book"/>
                        </a:defRPr>
                      </a:pPr>
                      <a:r>
                        <a:rPr sz="700"/>
                        <a:t>Hawaiian Tropic Silk Hydration Glow Mist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204974">
                <a:tc>
                  <a:txBody>
                    <a:bodyPr/>
                    <a:lstStyle/>
                    <a:p>
                      <a:pPr algn="ctr">
                        <a:defRPr sz="800">
                          <a:latin typeface="Nexa Book"/>
                        </a:defRPr>
                      </a:pPr>
                      <a:r>
                        <a:rPr sz="700"/>
                        <a:t>Beautycare Glow Stick FPS50 2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204974">
                <a:tc>
                  <a:txBody>
                    <a:bodyPr/>
                    <a:lstStyle/>
                    <a:p>
                      <a:pPr algn="ctr">
                        <a:defRPr sz="800">
                          <a:latin typeface="Nexa Book"/>
                        </a:defRPr>
                      </a:pPr>
                      <a:r>
                        <a:rPr sz="700"/>
                        <a:t>Beautycare Glow Serum FPS50 3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204974">
                <a:tc>
                  <a:txBody>
                    <a:bodyPr/>
                    <a:lstStyle/>
                    <a:p>
                      <a:pPr algn="ctr">
                        <a:defRPr sz="800">
                          <a:latin typeface="Nexa Book"/>
                        </a:defRPr>
                      </a:pPr>
                      <a:r>
                        <a:rPr sz="700"/>
                        <a:t>Beautycare Pro Age Color Face Fluid FPS50+ 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204974">
                <a:tc>
                  <a:txBody>
                    <a:bodyPr/>
                    <a:lstStyle/>
                    <a:p>
                      <a:pPr algn="ctr">
                        <a:defRPr sz="800">
                          <a:latin typeface="Nexa Book"/>
                        </a:defRPr>
                      </a:pPr>
                      <a:r>
                        <a:rPr sz="700"/>
                        <a:t>Beautycare Glow Lip Oil FPS5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204974">
                <a:tc>
                  <a:txBody>
                    <a:bodyPr/>
                    <a:lstStyle/>
                    <a:p>
                      <a:pPr algn="ctr">
                        <a:defRPr sz="800">
                          <a:latin typeface="Nexa Book"/>
                        </a:defRPr>
                      </a:pPr>
                      <a:r>
                        <a:rPr sz="700"/>
                        <a:t>Banana Boat Aqua Protect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204974">
                <a:tc>
                  <a:txBody>
                    <a:bodyPr/>
                    <a:lstStyle/>
                    <a:p>
                      <a:pPr algn="ctr">
                        <a:defRPr sz="800">
                          <a:latin typeface="Nexa Book"/>
                        </a:defRPr>
                      </a:pPr>
                      <a:r>
                        <a:rPr sz="700"/>
                        <a:t>Banana Boat Advanced Protection Lotion FPS50+ 36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204974">
                <a:tc>
                  <a:txBody>
                    <a:bodyPr/>
                    <a:lstStyle/>
                    <a:p>
                      <a:pPr algn="ctr">
                        <a:defRPr sz="800">
                          <a:latin typeface="Nexa Book"/>
                        </a:defRPr>
                      </a:pPr>
                      <a:r>
                        <a:rPr sz="700"/>
                        <a:t>Banana Boat Dry Balance Sport Stick FPS50+ 4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204974">
                <a:tc>
                  <a:txBody>
                    <a:bodyPr/>
                    <a:lstStyle/>
                    <a:p>
                      <a:pPr algn="ctr">
                        <a:defRPr sz="800">
                          <a:latin typeface="Nexa Book"/>
                        </a:defRPr>
                      </a:pPr>
                      <a:r>
                        <a:rPr sz="700"/>
                        <a:t>Banana Boat Kids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204974">
                <a:tc>
                  <a:txBody>
                    <a:bodyPr/>
                    <a:lstStyle/>
                    <a:p>
                      <a:pPr algn="ctr">
                        <a:defRPr sz="800">
                          <a:latin typeface="Nexa Book"/>
                        </a:defRPr>
                      </a:pPr>
                      <a:r>
                        <a:rPr sz="700"/>
                        <a:t>Banana Boat Dry Balance Sport Aerosol FPS50+ 2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204974">
                <a:tc>
                  <a:txBody>
                    <a:bodyPr/>
                    <a:lstStyle/>
                    <a:p>
                      <a:pPr algn="ctr">
                        <a:defRPr sz="800">
                          <a:latin typeface="Nexa Book"/>
                        </a:defRPr>
                      </a:pPr>
                      <a:r>
                        <a:rPr sz="700"/>
                        <a:t>Banana Boat Sport Lotion FPS50+ 354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204974">
                <a:tc>
                  <a:txBody>
                    <a:bodyPr/>
                    <a:lstStyle/>
                    <a:p>
                      <a:pPr algn="ctr">
                        <a:defRPr sz="800">
                          <a:latin typeface="Nexa Book"/>
                        </a:defRPr>
                      </a:pPr>
                      <a:r>
                        <a:rPr sz="700"/>
                        <a:t>Banana Boat Baby Lotion FPS50+ 177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835D741A-9A06-11D4-97F7-51A764082626}"/>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1798935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C84501-B83B-CE7F-EF65-1042FF944E3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73FCF50-B8FD-86F6-7443-4C55941211AE}"/>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FE6A343-61B5-BF6B-BF30-E01271F1141A}"/>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C545A148-4533-F731-192E-8FA31DEFD5C2}"/>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36C4FBC-13F6-6448-1A34-6216BD894FC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36C564C5-74BF-9F76-1D07-782E2467458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BAF2FBA1-70AD-5E64-7C11-DF9D29D4852E}"/>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7BC11EE-DEE1-F99B-4BF5-CCEF95013CAF}"/>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EC46FBA1-05AA-6C33-7633-F4E383A0C936}"/>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2E18F168-7D2B-4762-5A14-D8EB60BA1C4B}"/>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671795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17460D-E615-FFD2-E156-8262D45A2BF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9D0505C-1EB8-84E0-E689-EA5A745FAF82}"/>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449C6C76-BA7D-35A2-BA14-EAFD11A42B66}"/>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C1994ACA-BD42-2B68-D387-39B8CB330C14}"/>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0448B0D8-0659-6F76-5411-032C5A7E1841}"/>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087B069B-4EFF-DF90-4B6B-377D2AAE12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0" name="Content Placeholder 9">
            <a:extLst>
              <a:ext uri="{FF2B5EF4-FFF2-40B4-BE49-F238E27FC236}">
                <a16:creationId xmlns:a16="http://schemas.microsoft.com/office/drawing/2014/main" id="{DF81BA8C-8EE7-D2AA-7AA2-BF3D37FA457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21ED924-5367-A949-FDB2-6E99E1D9773B}"/>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6AC5D6C9-1554-3316-0C3A-BECD435F02B8}"/>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5705D23B-2AE9-B7AB-A8DD-858C14A29630}"/>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6E544CE-A514-F594-1F8F-F63F0898D823}"/>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E7C37906-2D41-6359-1182-70F5CB647671}"/>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9A750C6D-48E6-A5CE-45F6-87F6A3948625}"/>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A93596CC-5685-8B30-8CC0-D1B2D9843906}"/>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99974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FB698-5C24-5BAF-34C3-B55037DBA8A7}"/>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F45DE93-9C88-C331-B146-876F336F008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84C20037-8419-346B-4409-1E427918F4C4}"/>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CDA7343E-311D-5C9A-D2E9-3419C1FF7D8C}"/>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FDBA63DA-917B-8EAB-F8CC-8CF00AB9DA9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6555B9BE-6E53-DE36-646C-5BEB30CB75D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0" name="Content Placeholder 9">
            <a:extLst>
              <a:ext uri="{FF2B5EF4-FFF2-40B4-BE49-F238E27FC236}">
                <a16:creationId xmlns:a16="http://schemas.microsoft.com/office/drawing/2014/main" id="{D491A67D-055D-D675-72CB-D822DA4A70DD}"/>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01F9D2B1-D34B-9BDE-7330-47B78F49B592}"/>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A38B531D-4511-D8FD-D88F-1F536E0D99F8}"/>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56398A99-4A75-E708-CABC-1D77E768925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894EF105-9C3F-A6A7-54D4-DB2645191F39}"/>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3E2F9E98-1471-B210-9CB9-B1C5271BB11A}"/>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5797F10-6981-5C0A-B2F0-C103A505873E}"/>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C26DFD71-0FF0-EBA3-EC14-3B31590AB438}"/>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182695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4DA2C-8878-FEB0-9DAE-ED5106A5E5C7}"/>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53F1448-11A9-4E3A-F164-FF7F0346815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AAFA68D7-BF49-1F9E-F260-5C85E8A382A6}"/>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CA35D059-7740-E8A7-C57B-F1F5A33BF0C1}"/>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572F4F33-3A04-3E1A-0549-C5D7C47A9D2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dirty="0"/>
          </a:p>
        </p:txBody>
      </p:sp>
      <p:sp>
        <p:nvSpPr>
          <p:cNvPr id="8" name="Text Placeholder 7">
            <a:extLst>
              <a:ext uri="{FF2B5EF4-FFF2-40B4-BE49-F238E27FC236}">
                <a16:creationId xmlns:a16="http://schemas.microsoft.com/office/drawing/2014/main" id="{9DC88759-61B2-A824-7B05-1E071DEC849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047E0193-A24F-3AAD-080D-8B87C62EFCBC}"/>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9E0EC3AA-997E-8431-CB0D-8DF764A91B23}"/>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CF5A40A9-A96F-4D57-ADE5-43512D451C77}"/>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D1106B1A-6C22-154A-60CC-A808332E71F5}"/>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A750385F-6051-E55E-EB6F-A9D2BE2C19BB}"/>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4983813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6F615-E625-9543-5AD2-965A8B0E9C9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76A8B32-15D7-9782-0DA0-E5057F6735F2}"/>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631A866-80E7-81C2-A945-8EDCC3964A4E}"/>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2C7BA02E-FDD4-3C76-4E9A-89C2DCFC4ABD}"/>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9DAE1D82-51F1-FC28-562C-994E23F95F2C}"/>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8" name="Text Placeholder 7">
            <a:extLst>
              <a:ext uri="{FF2B5EF4-FFF2-40B4-BE49-F238E27FC236}">
                <a16:creationId xmlns:a16="http://schemas.microsoft.com/office/drawing/2014/main" id="{C07DF0E0-58B0-CCCA-0819-C0B6CF1DEFF1}"/>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1EA2FB4E-5DF2-EBB2-822A-A5793F451840}"/>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2EB99CB8-19A4-487E-A63E-C0BC50FFB251}"/>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D0F546DD-0DA5-4CFA-A753-9CCCA57BF073}"/>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42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EF33A55B-288F-E99E-541D-D4C8239093D3}"/>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30F8D59F-AD51-3D3E-0808-1BF54AE1B59B}"/>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ADC8C7DB-F997-ABAF-16C9-DE8D87968502}"/>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26651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C297F6-2A4F-D630-A4E6-8FB86E01256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4B10F36-0ACA-44A7-20AC-B7583010D1EE}"/>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528A0784-71CB-7976-E580-D888994EA135}"/>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D05D6318-4D25-C92A-271A-EA94F9698A3F}"/>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E33D1307-9671-373E-3EE7-1B0E739651DA}"/>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D948AD41-A927-9E15-621E-2C291A30255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0" name="Content Placeholder 9">
            <a:extLst>
              <a:ext uri="{FF2B5EF4-FFF2-40B4-BE49-F238E27FC236}">
                <a16:creationId xmlns:a16="http://schemas.microsoft.com/office/drawing/2014/main" id="{8B8EFC35-71CE-E395-162A-054CB871E178}"/>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82A3ACD-18A7-32FD-DE0E-73FFB5B1322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34AF0D8B-65EF-B23F-932C-6A2158114E37}"/>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873BB273-D2FA-1C71-F472-73EE02E5ED13}"/>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9BF20C79-A6A6-B58B-611A-9CA749365FE5}"/>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B04FB004-1318-6B81-954A-2174DED5CAE2}"/>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A76E024E-EB0A-6E66-E19F-B0134C04E34A}"/>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D94F472-1F79-4B3C-1BFB-7CB694A7B777}"/>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4492058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B279CD-DB67-A0DA-F0CD-E0909D896CA9}"/>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B853BAB-5461-1A28-4748-507CE90D03D8}"/>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D6C798B7-3B23-9EDB-55D4-32617708A620}"/>
              </a:ext>
            </a:extLst>
          </p:cNvPr>
          <p:cNvGraphicFramePr>
            <a:graphicFrameLocks/>
          </p:cNvGraphicFramePr>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9FD52669-481E-275B-EA88-689632B4A053}"/>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987DBD4-1BAB-B3E0-349F-C656258FD0B1}"/>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2E001CF6-5383-DDEF-3CED-D29C5FE9512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0" name="Content Placeholder 9">
            <a:extLst>
              <a:ext uri="{FF2B5EF4-FFF2-40B4-BE49-F238E27FC236}">
                <a16:creationId xmlns:a16="http://schemas.microsoft.com/office/drawing/2014/main" id="{FCF15CAE-4AB1-59FE-F2E8-53F85CDCCBE4}"/>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D849CE20-D03B-2A21-B8F9-7B32FD5784B1}"/>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E36FAA66-B406-E15C-3D58-D3188303AA4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5EA678DF-3833-3568-A035-D962D1DB79F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A34FEABF-29C9-57E7-F3BC-09D7A2B69EFC}"/>
              </a:ext>
            </a:extLst>
          </p:cNvPr>
          <p:cNvGraphicFramePr>
            <a:graphicFrameLocks/>
          </p:cNvGraphicFramePr>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18EA3656-45C3-D638-D57D-02F50BDB8271}"/>
              </a:ext>
            </a:extLst>
          </p:cNvPr>
          <p:cNvGraphicFramePr>
            <a:graphicFrameLocks/>
          </p:cNvGraphicFramePr>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B7B98C98-53E2-3CD6-0C16-C7E999FB2469}"/>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86E9E5BF-603B-5845-9BD5-243F5071D431}"/>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8305408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4C74F-A102-61FD-CDDF-D1E29BC0E6CA}"/>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CB62850F-C12A-CF9B-E514-65A88CB2324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314124A0-A7D1-4A22-95E4-27EF753405E1}"/>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502D8336-1623-BB25-50B3-6A7047B554CF}"/>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C6FD9682-F4AA-71B8-5823-57BA1EA9F8E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dirty="0"/>
          </a:p>
        </p:txBody>
      </p:sp>
      <p:sp>
        <p:nvSpPr>
          <p:cNvPr id="8" name="Text Placeholder 7">
            <a:extLst>
              <a:ext uri="{FF2B5EF4-FFF2-40B4-BE49-F238E27FC236}">
                <a16:creationId xmlns:a16="http://schemas.microsoft.com/office/drawing/2014/main" id="{DBF2CF4E-29DB-7EAC-7DCB-90393C55624E}"/>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E6C9BAE9-E59D-1C78-1D07-AEB59E336CA1}"/>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044CA01A-8BE4-42C1-9507-6E723C9AC1C7}"/>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0B046F6-EDFE-4AA5-22D3-B58CB29F34DC}"/>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FC3BEE88-CC8E-9847-7ECE-A8B31861EDBC}"/>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D1617CA6-3B76-1FAC-8E27-8AAFF6D79DE0}"/>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5744778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562DA-B480-4D85-2847-26021D32B29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9E9919C-5403-A1F9-7998-B31C85D6E25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6D54AED9-9634-411B-35E1-D86936EDF049}"/>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427F3D26-97C6-0215-42C7-2AC671FE92DE}"/>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E6B01E36-6C23-6AA9-4A41-D537BFD686E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8" name="Text Placeholder 7">
            <a:extLst>
              <a:ext uri="{FF2B5EF4-FFF2-40B4-BE49-F238E27FC236}">
                <a16:creationId xmlns:a16="http://schemas.microsoft.com/office/drawing/2014/main" id="{6B13449F-766A-DDBE-163E-2BC2C6D6335C}"/>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6A6612C8-AB6E-BE52-8404-2FBA79964533}"/>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B5BD356-8C1F-7BBA-217E-CC7DA6381980}"/>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7CDFCF5C-52AF-797F-4C25-AD7CE034E759}"/>
              </a:ext>
            </a:extLst>
          </p:cNvPr>
          <p:cNvGraphicFramePr>
            <a:graphicFrameLocks noGrp="1"/>
          </p:cNvGraphicFramePr>
          <p:nvPr>
            <p:ph idx="4294967295"/>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7BA95849-DD7B-AC0D-C5C8-6AF5AECFD3C1}"/>
              </a:ext>
            </a:extLst>
          </p:cNvPr>
          <p:cNvGraphicFramePr>
            <a:graphicFrameLocks/>
          </p:cNvGraphicFramePr>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07EB977-F59E-B0D1-381E-D665046D01FB}"/>
              </a:ext>
            </a:extLst>
          </p:cNvPr>
          <p:cNvGraphicFramePr>
            <a:graphicFrameLocks/>
          </p:cNvGraphicFramePr>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D8ADEE30-3056-79C6-2EB8-C6828F88408D}"/>
              </a:ext>
            </a:extLst>
          </p:cNvPr>
          <p:cNvGraphicFramePr>
            <a:graphicFrameLocks/>
          </p:cNvGraphicFramePr>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6918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0AB062-3A8C-49AA-FDC0-438FF830D208}"/>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98D1AC2-70AA-C7AD-2419-5E71C5755972}"/>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C23C12D8-77D0-7E00-D6FE-B962A41BF302}"/>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8BA9F2C6-CD69-1502-849A-89E7AD91AA8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2CD77C8-959E-F31B-E827-0AD48C04455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3662DB22-7791-B82C-039B-D88D346EC035}"/>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D3E839F8-8EB4-1730-E986-BF6BA4475A2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B643BAC-9313-D1A1-7F7B-749CC341E95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B384AFCD-09A0-124E-E253-0F4F7D0DED04}"/>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D67B34D7-0506-D27A-F116-C9A8E6382327}"/>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49C8E479-01CF-95B7-45AC-E22AC81559FA}"/>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E6CEECA4-7F6C-54FE-9F31-71D3D0528974}"/>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662A58C7-AB46-814E-4E72-89089367C461}"/>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D0BE88D9-3B15-3ED4-1680-DA45F22932EE}"/>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CD414812-7197-EDF9-06EB-9B8403A93C53}"/>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791498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15653-A39C-3CF4-DDA9-AB5FAA13D2B6}"/>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06EEB9DA-FD6E-02AA-0D20-F0A92E6C6C5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4C88A93C-C675-5EE3-3B61-EA27352A0770}"/>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4E716722-18B2-81DA-0455-E62647D64BAF}"/>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2D4FD01B-9DB4-ABEF-F7F1-D341B29B9C7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dirty="0"/>
          </a:p>
        </p:txBody>
      </p:sp>
      <p:sp>
        <p:nvSpPr>
          <p:cNvPr id="8" name="Text Placeholder 7">
            <a:extLst>
              <a:ext uri="{FF2B5EF4-FFF2-40B4-BE49-F238E27FC236}">
                <a16:creationId xmlns:a16="http://schemas.microsoft.com/office/drawing/2014/main" id="{398A3FE7-3E85-AC5E-1EB5-8A16E6798C06}"/>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A40F6416-18FA-CFBE-BAE1-2952BCF5DFC3}"/>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88B68037-240B-7D17-B4EE-6BFC1EE4DAAC}"/>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C9145EF3-19A6-8E7F-5258-E3FB1C8D3DE4}"/>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34B623B3-FE80-D233-ABD1-E9970F95134E}"/>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2D552C9F-75D9-C78F-53BF-C6EE0A77C4C8}"/>
              </a:ext>
            </a:extLst>
          </p:cNvPr>
          <p:cNvGraphicFramePr>
            <a:graphicFrameLocks/>
          </p:cNvGraphicFramePr>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486028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54810B-F27A-D1BE-0DE7-2718E226EFB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8EEEF2D-E25C-1E63-6209-B909F109C9D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5E646C2-43C4-86ED-9A94-C132F9161DBB}"/>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7F244316-B869-4CDC-72B1-2BB0329D5A5E}"/>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FBA5D7C1-13BB-2172-2A14-B96A4AEA49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CA64A6E8-611B-BC0D-B5F1-803FA49467E3}"/>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46FCDF10-4114-0748-5997-B7603077477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67BE2609-66A8-0B92-AF82-3536DC0CD64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2EE3A46-5F56-E463-26F0-5CB2849F59B8}"/>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2FC47D84-67EA-374E-6BE2-9506CC260F75}"/>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07F98E4-6B71-02D3-200F-C0CE75CD15EC}"/>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9C3EA04D-0AD0-9B1E-E95A-CB2123E34239}"/>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523352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39100-4337-D1AB-E874-E0465DEC40C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1BEFD82-88F3-D0AA-F2DE-CAFB0D52FA7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076ECDE-1039-43D4-24C0-B4003F063D6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58CF22F6-E88A-637F-5D02-A440ABD5E11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2E5FDE6B-CE24-E90F-CC5F-123E61D8A80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8240E27C-E296-4B8C-6A17-B923F6B56E79}"/>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4E476FDB-4256-B27B-4B3E-ECEC09414B8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492D0B0D-D7FE-50BA-8F8E-A4ACE35FA02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406A23D-3809-7C36-2ADB-9C5641F33634}"/>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32275EC1-E5AA-3053-07CD-8568DE9726E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4A0276C0-BFD3-1719-5C5E-76E0DE6CFD9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78D3504C-1281-E600-5E01-A6552B666CFB}"/>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1320095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4FF30-48A5-F978-494F-7EAA4456902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D1E6566-EC58-CEFC-FF21-DF7A7A87956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A799BA2D-9657-5883-930C-C9A8BCE14880}"/>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E7FF8953-BFB2-8D54-BBA0-F5DE1DB0BC1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99A4937C-E21F-E44E-3D47-E54F2310BE3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dirty="0"/>
          </a:p>
        </p:txBody>
      </p:sp>
      <p:sp>
        <p:nvSpPr>
          <p:cNvPr id="8" name="Text Placeholder 7">
            <a:extLst>
              <a:ext uri="{FF2B5EF4-FFF2-40B4-BE49-F238E27FC236}">
                <a16:creationId xmlns:a16="http://schemas.microsoft.com/office/drawing/2014/main" id="{0D378B26-39E7-E390-288C-7D7E0A4947AF}"/>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5EF93C03-0524-0EB9-AC18-3DDFCD71107D}"/>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91EFBC71-8656-ECE4-92DE-5295D8F221AD}"/>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427D0655-0252-79AF-E186-A687253379B1}"/>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FE6BD5B4-F3AA-3F2E-6029-9F72642A3CE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8DE57804-1CEB-2856-0172-E74734837EA9}"/>
              </a:ext>
            </a:extLst>
          </p:cNvPr>
          <p:cNvGraphicFramePr>
            <a:graphicFrameLocks/>
          </p:cNvGraphicFramePr>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926636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B8E18-6EE2-195B-1F4F-50C852114D1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8D81E79-A397-17E2-9BBA-1E8358F67C49}"/>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E33C1F9-8A38-8A32-A53E-E2E60BD2890A}"/>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534E9067-8E52-4845-9FD1-F71E10241C11}"/>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5DDCFE77-B63C-C57D-38F4-CAD0D330DCD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8" name="Text Placeholder 7">
            <a:extLst>
              <a:ext uri="{FF2B5EF4-FFF2-40B4-BE49-F238E27FC236}">
                <a16:creationId xmlns:a16="http://schemas.microsoft.com/office/drawing/2014/main" id="{B1223FFE-A84C-CB5B-C3D3-2D45B6E72A3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BF055658-DEB6-C4AA-CA52-4EDF8429EAEC}"/>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AA47163C-0F67-8E88-F355-7F411B74AD78}"/>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EF3E79-9429-4A0F-60B2-96B6DE6F8214}"/>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AD1BD76B-70E1-DD32-C717-CCE3398D9B05}"/>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3268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AFFAE-D382-0E36-D997-1AB0BE82B82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D9C859-B1D2-19B6-73BD-90B2C77D971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BDDEEF70-BFFD-04ED-0842-FA2B19A579F5}"/>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4DA1DEA1-5A82-3361-149D-EDD326C2FADD}"/>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3D7477C7-5FEB-BC66-BDAB-6335FEE3FA4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0" name="Content Placeholder 9">
            <a:extLst>
              <a:ext uri="{FF2B5EF4-FFF2-40B4-BE49-F238E27FC236}">
                <a16:creationId xmlns:a16="http://schemas.microsoft.com/office/drawing/2014/main" id="{DD23FB8F-64F5-390B-105C-4119ABE5B7A7}"/>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11239BE0-F039-7A80-7199-2D004CC6ED71}"/>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0E5790F4-08EA-F4BD-C3AE-578EABEC239F}"/>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740D0E6C-D523-C25C-B2EC-13F1AD456AF1}"/>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DCDC23C8-305D-B244-3CF8-4BA85DCB7A41}"/>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3E2F6954-9EFA-A2C3-AE5A-70C99EA26840}"/>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A66F6CA-836E-2B94-5C12-7F6E315CFF16}"/>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052431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2.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3022</Words>
  <Application>Microsoft Office PowerPoint</Application>
  <PresentationFormat>On-screen Show (16:9)</PresentationFormat>
  <Paragraphs>902</Paragraphs>
  <Slides>28</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Aptos</vt:lpstr>
      <vt:lpstr>Arial</vt:lpstr>
      <vt:lpstr>Nexa</vt:lpstr>
      <vt:lpstr>Nexa Bold</vt:lpstr>
      <vt:lpstr>Nexa Bold (Headings)</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ranking (Replace with SO WHAT)</vt:lpstr>
      <vt:lpstr>Innovation potential (Replace with SO WHAT)</vt:lpstr>
      <vt:lpstr>Innovation ranking (Replace with SO WHAT)</vt:lpstr>
      <vt:lpstr>Innovation ranking (Replace with SO WHAT)</vt:lpstr>
      <vt:lpstr>Innovation potential (Replace with SO WHAT)</vt:lpstr>
      <vt:lpstr>Innovation sourcing (Replace with SO WHAT)</vt:lpstr>
      <vt:lpstr>Innovation ranking (Replace with SO WHAT)</vt:lpstr>
      <vt:lpstr>Innovation ranking (Replace with SO WHAT)</vt:lpstr>
      <vt:lpstr>Innovation potential (Replace with SO WHAT)</vt:lpstr>
      <vt:lpstr>Innovation sourcing (Replace with SO WHAT)</vt:lpstr>
      <vt:lpstr>Innovation ranking (Replace with SO WHAT)</vt:lpstr>
      <vt:lpstr>Innovation ranking (Replace with SO WHAT)</vt:lpstr>
      <vt:lpstr>Innovation potential (Replace with SO WHAT)</vt:lpstr>
      <vt:lpstr>Innovation sourcing (Replace with SO WHAT)</vt:lpstr>
      <vt:lpstr>Innovation ranking (Replace with SO WHAT)</vt:lpstr>
      <vt:lpstr>Innovation ranking (Replace with SO WHAT)</vt:lpstr>
      <vt:lpstr>Innovation potential (Replace with SO WHAT)</vt:lpstr>
      <vt:lpstr>Innovation sourcing (Replace with SO WHAT)</vt:lpstr>
      <vt:lpstr>Innovation ranking (Replace with SO WHAT)</vt:lpstr>
      <vt:lpstr>Innovation ranking (Replace with SO WHAT)</vt:lpstr>
      <vt:lpstr>Innovation potential (Replace with SO WHAT)</vt:lpstr>
      <vt:lpstr>Innovation sourcing (Replace with SO WHAT)</vt:lpstr>
      <vt:lpstr>Innovation ranking (Replace with SO WHAT)</vt:lpstr>
      <vt:lpstr>Innovation ranking (Replace with SO WHAT)</vt:lpstr>
      <vt:lpstr>Innovation potential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6</cp:revision>
  <dcterms:created xsi:type="dcterms:W3CDTF">2024-07-08T12:20:01Z</dcterms:created>
  <dcterms:modified xsi:type="dcterms:W3CDTF">2025-07-31T09:2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